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8.xml" ContentType="application/vnd.openxmlformats-officedocument.presentationml.notesSlide+xml"/>
  <Override PartName="/ppt/ink/ink1.xml" ContentType="application/inkml+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9.xml" ContentType="application/vnd.openxmlformats-officedocument.presentationml.notesSlide+xml"/>
  <Override PartName="/ppt/tags/tag81.xml" ContentType="application/vnd.openxmlformats-officedocument.presentationml.tags+xml"/>
  <Override PartName="/ppt/notesSlides/notesSlide1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2.xml" ContentType="application/vnd.openxmlformats-officedocument.presentationml.notesSlide+xml"/>
  <Override PartName="/ppt/tags/tag103.xml" ContentType="application/vnd.openxmlformats-officedocument.presentationml.tags+xml"/>
  <Override PartName="/ppt/notesSlides/notesSlide13.xml" ContentType="application/vnd.openxmlformats-officedocument.presentationml.notesSlide+xml"/>
  <Override PartName="/ppt/tags/tag104.xml" ContentType="application/vnd.openxmlformats-officedocument.presentationml.tags+xml"/>
  <Override PartName="/ppt/notesSlides/notesSlide14.xml" ContentType="application/vnd.openxmlformats-officedocument.presentationml.notesSlide+xml"/>
  <Override PartName="/ppt/tags/tag105.xml" ContentType="application/vnd.openxmlformats-officedocument.presentationml.tags+xml"/>
  <Override PartName="/ppt/notesSlides/notesSlide15.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6.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ink/ink2.xml" ContentType="application/inkml+xml"/>
  <Override PartName="/ppt/ink/ink3.xml" ContentType="application/inkml+xml"/>
  <Override PartName="/ppt/tags/tag127.xml" ContentType="application/vnd.openxmlformats-officedocument.presentationml.tags+xml"/>
  <Override PartName="/ppt/tags/tag1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tags/tag500.xml" ContentType="application/vnd.openxmlformats-officedocument.presentationml.tags+xml"/>
  <Override PartName="/ppt/tags/tag510.xml" ContentType="application/vnd.openxmlformats-officedocument.presentationml.tags+xml"/>
  <Override PartName="/ppt/tags/tag1040.xml" ContentType="application/vnd.openxmlformats-officedocument.presentationml.tags+xml"/>
  <Override PartName="/ppt/tags/tag1050.xml" ContentType="application/vnd.openxmlformats-officedocument.presentationml.tags+xml"/>
  <Override PartName="/ppt/tags/tag44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4" r:id="rId1"/>
    <p:sldMasterId id="2147483648" r:id="rId2"/>
  </p:sldMasterIdLst>
  <p:notesMasterIdLst>
    <p:notesMasterId r:id="rId24"/>
  </p:notesMasterIdLst>
  <p:handoutMasterIdLst>
    <p:handoutMasterId r:id="rId25"/>
  </p:handoutMasterIdLst>
  <p:sldIdLst>
    <p:sldId id="256" r:id="rId3"/>
    <p:sldId id="290" r:id="rId4"/>
    <p:sldId id="272" r:id="rId5"/>
    <p:sldId id="273" r:id="rId6"/>
    <p:sldId id="259" r:id="rId7"/>
    <p:sldId id="261" r:id="rId8"/>
    <p:sldId id="286" r:id="rId9"/>
    <p:sldId id="262" r:id="rId10"/>
    <p:sldId id="266" r:id="rId11"/>
    <p:sldId id="269" r:id="rId12"/>
    <p:sldId id="295" r:id="rId13"/>
    <p:sldId id="263" r:id="rId14"/>
    <p:sldId id="270" r:id="rId15"/>
    <p:sldId id="265" r:id="rId16"/>
    <p:sldId id="264" r:id="rId17"/>
    <p:sldId id="267" r:id="rId18"/>
    <p:sldId id="258" r:id="rId19"/>
    <p:sldId id="257" r:id="rId20"/>
    <p:sldId id="260" r:id="rId21"/>
    <p:sldId id="271" r:id="rId22"/>
    <p:sldId id="282" r:id="rId23"/>
  </p:sldIdLst>
  <p:sldSz cx="12192000" cy="6858000"/>
  <p:notesSz cx="9925050" cy="6665913"/>
  <p:custDataLst>
    <p:tags r:id="rId26"/>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halt" id="{ABA0CC13-5118-40AE-A916-234661DAC14A}">
          <p14:sldIdLst>
            <p14:sldId id="256"/>
          </p14:sldIdLst>
        </p14:section>
        <p14:section name="1 Background" id="{8F532408-9D62-4842-81CC-FF171D95E6DC}">
          <p14:sldIdLst>
            <p14:sldId id="290"/>
            <p14:sldId id="272"/>
            <p14:sldId id="273"/>
            <p14:sldId id="259"/>
            <p14:sldId id="261"/>
          </p14:sldIdLst>
        </p14:section>
        <p14:section name="3 Hamilton-Jacobi-Bellman Method" id="{FC70C19C-4EAC-460B-A178-CE494A21F2DA}">
          <p14:sldIdLst>
            <p14:sldId id="286"/>
            <p14:sldId id="262"/>
            <p14:sldId id="266"/>
            <p14:sldId id="269"/>
            <p14:sldId id="295"/>
            <p14:sldId id="263"/>
            <p14:sldId id="270"/>
            <p14:sldId id="265"/>
            <p14:sldId id="264"/>
            <p14:sldId id="267"/>
            <p14:sldId id="258"/>
            <p14:sldId id="257"/>
            <p14:sldId id="260"/>
            <p14:sldId id="271"/>
          </p14:sldIdLst>
        </p14:section>
        <p14:section name="5 Reinforcement Learning" id="{82B1D2E0-7652-4C53-8885-7CC54C41F147}">
          <p14:sldIdLst/>
        </p14:section>
        <p14:section name="Backup: New Agenda" id="{645F9513-76EC-4D15-A41C-7C12295DD735}">
          <p14:sldIdLst>
            <p14:sldId id="282"/>
          </p14:sldIdLst>
        </p14:section>
        <p14:section name="Backup" id="{919139A4-ADE2-4564-AE13-E4B8AE78359D}">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9999"/>
    <a:srgbClr val="98C6EA"/>
    <a:srgbClr val="0052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62E480-7981-4CB4-8BDC-B43B16217FDC}" v="5248" dt="2023-08-25T10:25:05.245"/>
  </p1510:revLst>
</p1510:revInfo>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8283" autoAdjust="0"/>
  </p:normalViewPr>
  <p:slideViewPr>
    <p:cSldViewPr snapToGrid="0">
      <p:cViewPr varScale="1">
        <p:scale>
          <a:sx n="85" d="100"/>
          <a:sy n="85" d="100"/>
        </p:scale>
        <p:origin x="58" y="211"/>
      </p:cViewPr>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35" d="100"/>
          <a:sy n="135" d="100"/>
        </p:scale>
        <p:origin x="-1518" y="-90"/>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takala, Dak" userId="cd0822e5-8453-49cd-b7f2-0e1ddb2cf849" providerId="ADAL" clId="{7B62E480-7981-4CB4-8BDC-B43B16217FDC}"/>
    <pc:docChg chg="undo redo custSel addSld delSld modSld sldOrd modSection replTag">
      <pc:chgData name="Natakala, Dak" userId="cd0822e5-8453-49cd-b7f2-0e1ddb2cf849" providerId="ADAL" clId="{7B62E480-7981-4CB4-8BDC-B43B16217FDC}" dt="2023-08-25T10:45:05.203" v="18560" actId="20577"/>
      <pc:docMkLst>
        <pc:docMk/>
      </pc:docMkLst>
      <pc:sldChg chg="delSp modSp mod modNotesTx">
        <pc:chgData name="Natakala, Dak" userId="cd0822e5-8453-49cd-b7f2-0e1ddb2cf849" providerId="ADAL" clId="{7B62E480-7981-4CB4-8BDC-B43B16217FDC}" dt="2023-08-25T10:44:29.344" v="18547" actId="20577"/>
        <pc:sldMkLst>
          <pc:docMk/>
          <pc:sldMk cId="560187699" sldId="256"/>
        </pc:sldMkLst>
        <pc:spChg chg="mod">
          <ac:chgData name="Natakala, Dak" userId="cd0822e5-8453-49cd-b7f2-0e1ddb2cf849" providerId="ADAL" clId="{7B62E480-7981-4CB4-8BDC-B43B16217FDC}" dt="2023-08-25T10:44:29.344" v="18547" actId="20577"/>
          <ac:spMkLst>
            <pc:docMk/>
            <pc:sldMk cId="560187699" sldId="256"/>
            <ac:spMk id="9" creationId="{00000000-0000-0000-0000-000000000000}"/>
          </ac:spMkLst>
        </pc:spChg>
        <pc:spChg chg="mod">
          <ac:chgData name="Natakala, Dak" userId="cd0822e5-8453-49cd-b7f2-0e1ddb2cf849" providerId="ADAL" clId="{7B62E480-7981-4CB4-8BDC-B43B16217FDC}" dt="2023-08-25T09:39:49.706" v="18194" actId="20577"/>
          <ac:spMkLst>
            <pc:docMk/>
            <pc:sldMk cId="560187699" sldId="256"/>
            <ac:spMk id="10" creationId="{00000000-0000-0000-0000-000000000000}"/>
          </ac:spMkLst>
        </pc:spChg>
        <pc:spChg chg="del">
          <ac:chgData name="Natakala, Dak" userId="cd0822e5-8453-49cd-b7f2-0e1ddb2cf849" providerId="ADAL" clId="{7B62E480-7981-4CB4-8BDC-B43B16217FDC}" dt="2023-08-23T13:22:01.657" v="13425" actId="478"/>
          <ac:spMkLst>
            <pc:docMk/>
            <pc:sldMk cId="560187699" sldId="256"/>
            <ac:spMk id="11" creationId="{00000000-0000-0000-0000-000000000000}"/>
          </ac:spMkLst>
        </pc:spChg>
      </pc:sldChg>
      <pc:sldChg chg="modSp mod ord">
        <pc:chgData name="Natakala, Dak" userId="cd0822e5-8453-49cd-b7f2-0e1ddb2cf849" providerId="ADAL" clId="{7B62E480-7981-4CB4-8BDC-B43B16217FDC}" dt="2023-08-23T13:07:30.824" v="11958"/>
        <pc:sldMkLst>
          <pc:docMk/>
          <pc:sldMk cId="1672698317" sldId="257"/>
        </pc:sldMkLst>
        <pc:spChg chg="mod">
          <ac:chgData name="Natakala, Dak" userId="cd0822e5-8453-49cd-b7f2-0e1ddb2cf849" providerId="ADAL" clId="{7B62E480-7981-4CB4-8BDC-B43B16217FDC}" dt="2023-08-22T08:42:12.263" v="4560" actId="20577"/>
          <ac:spMkLst>
            <pc:docMk/>
            <pc:sldMk cId="1672698317" sldId="257"/>
            <ac:spMk id="6" creationId="{00000000-0000-0000-0000-000000000000}"/>
          </ac:spMkLst>
        </pc:spChg>
        <pc:spChg chg="mod">
          <ac:chgData name="Natakala, Dak" userId="cd0822e5-8453-49cd-b7f2-0e1ddb2cf849" providerId="ADAL" clId="{7B62E480-7981-4CB4-8BDC-B43B16217FDC}" dt="2023-08-21T13:10:20.100" v="2379" actId="20577"/>
          <ac:spMkLst>
            <pc:docMk/>
            <pc:sldMk cId="1672698317" sldId="257"/>
            <ac:spMk id="14" creationId="{928F0756-C8A0-B5D7-4204-2981706D5BD7}"/>
          </ac:spMkLst>
        </pc:spChg>
        <pc:spChg chg="mod">
          <ac:chgData name="Natakala, Dak" userId="cd0822e5-8453-49cd-b7f2-0e1ddb2cf849" providerId="ADAL" clId="{7B62E480-7981-4CB4-8BDC-B43B16217FDC}" dt="2023-08-21T12:59:09.420" v="1300" actId="20577"/>
          <ac:spMkLst>
            <pc:docMk/>
            <pc:sldMk cId="1672698317" sldId="257"/>
            <ac:spMk id="15" creationId="{BA12A467-5F52-1014-E2B6-A59251884015}"/>
          </ac:spMkLst>
        </pc:spChg>
        <pc:spChg chg="mod">
          <ac:chgData name="Natakala, Dak" userId="cd0822e5-8453-49cd-b7f2-0e1ddb2cf849" providerId="ADAL" clId="{7B62E480-7981-4CB4-8BDC-B43B16217FDC}" dt="2023-08-21T13:01:11.770" v="1942" actId="20577"/>
          <ac:spMkLst>
            <pc:docMk/>
            <pc:sldMk cId="1672698317" sldId="257"/>
            <ac:spMk id="16" creationId="{10E6402E-9DC8-19FB-7DAE-12CB5A9841DC}"/>
          </ac:spMkLst>
        </pc:spChg>
      </pc:sldChg>
      <pc:sldChg chg="addSp delSp modSp mod ord">
        <pc:chgData name="Natakala, Dak" userId="cd0822e5-8453-49cd-b7f2-0e1ddb2cf849" providerId="ADAL" clId="{7B62E480-7981-4CB4-8BDC-B43B16217FDC}" dt="2023-08-25T10:27:27.628" v="18471" actId="404"/>
        <pc:sldMkLst>
          <pc:docMk/>
          <pc:sldMk cId="3920116627" sldId="258"/>
        </pc:sldMkLst>
        <pc:spChg chg="mod">
          <ac:chgData name="Natakala, Dak" userId="cd0822e5-8453-49cd-b7f2-0e1ddb2cf849" providerId="ADAL" clId="{7B62E480-7981-4CB4-8BDC-B43B16217FDC}" dt="2023-08-23T13:27:06.133" v="13797" actId="20577"/>
          <ac:spMkLst>
            <pc:docMk/>
            <pc:sldMk cId="3920116627" sldId="258"/>
            <ac:spMk id="4" creationId="{00000000-0000-0000-0000-000000000000}"/>
          </ac:spMkLst>
        </pc:spChg>
        <pc:spChg chg="mod">
          <ac:chgData name="Natakala, Dak" userId="cd0822e5-8453-49cd-b7f2-0e1ddb2cf849" providerId="ADAL" clId="{7B62E480-7981-4CB4-8BDC-B43B16217FDC}" dt="2023-08-25T09:38:52.170" v="18113" actId="1038"/>
          <ac:spMkLst>
            <pc:docMk/>
            <pc:sldMk cId="3920116627" sldId="258"/>
            <ac:spMk id="7" creationId="{3739EA30-2E01-EAE7-6819-00707B6E6E9F}"/>
          </ac:spMkLst>
        </pc:spChg>
        <pc:spChg chg="add del mod">
          <ac:chgData name="Natakala, Dak" userId="cd0822e5-8453-49cd-b7f2-0e1ddb2cf849" providerId="ADAL" clId="{7B62E480-7981-4CB4-8BDC-B43B16217FDC}" dt="2023-08-25T09:47:11.875" v="18210" actId="22"/>
          <ac:spMkLst>
            <pc:docMk/>
            <pc:sldMk cId="3920116627" sldId="258"/>
            <ac:spMk id="9" creationId="{F2B2B80E-0307-2C56-DAEE-E42ED5D1F697}"/>
          </ac:spMkLst>
        </pc:spChg>
        <pc:spChg chg="add mod">
          <ac:chgData name="Natakala, Dak" userId="cd0822e5-8453-49cd-b7f2-0e1ddb2cf849" providerId="ADAL" clId="{7B62E480-7981-4CB4-8BDC-B43B16217FDC}" dt="2023-08-25T10:18:05.808" v="18390" actId="1076"/>
          <ac:spMkLst>
            <pc:docMk/>
            <pc:sldMk cId="3920116627" sldId="258"/>
            <ac:spMk id="11" creationId="{54CC3F45-3C1D-0B86-47B6-264886722E70}"/>
          </ac:spMkLst>
        </pc:spChg>
        <pc:spChg chg="add mod">
          <ac:chgData name="Natakala, Dak" userId="cd0822e5-8453-49cd-b7f2-0e1ddb2cf849" providerId="ADAL" clId="{7B62E480-7981-4CB4-8BDC-B43B16217FDC}" dt="2023-08-25T10:27:27.628" v="18471" actId="404"/>
          <ac:spMkLst>
            <pc:docMk/>
            <pc:sldMk cId="3920116627" sldId="258"/>
            <ac:spMk id="12" creationId="{C8ABEC49-4FBC-7F06-8370-C06BF2634A2C}"/>
          </ac:spMkLst>
        </pc:spChg>
      </pc:sldChg>
      <pc:sldChg chg="addSp delSp modSp mod modNotesTx">
        <pc:chgData name="Natakala, Dak" userId="cd0822e5-8453-49cd-b7f2-0e1ddb2cf849" providerId="ADAL" clId="{7B62E480-7981-4CB4-8BDC-B43B16217FDC}" dt="2023-08-25T10:35:41.646" v="18477"/>
        <pc:sldMkLst>
          <pc:docMk/>
          <pc:sldMk cId="3548897287" sldId="259"/>
        </pc:sldMkLst>
        <pc:spChg chg="add del mod">
          <ac:chgData name="Natakala, Dak" userId="cd0822e5-8453-49cd-b7f2-0e1ddb2cf849" providerId="ADAL" clId="{7B62E480-7981-4CB4-8BDC-B43B16217FDC}" dt="2023-08-25T09:51:26.229" v="18302" actId="478"/>
          <ac:spMkLst>
            <pc:docMk/>
            <pc:sldMk cId="3548897287" sldId="259"/>
            <ac:spMk id="3" creationId="{06E89FA0-998E-D9ED-DB9D-CCC1BBE034AA}"/>
          </ac:spMkLst>
        </pc:spChg>
        <pc:spChg chg="add mod">
          <ac:chgData name="Natakala, Dak" userId="cd0822e5-8453-49cd-b7f2-0e1ddb2cf849" providerId="ADAL" clId="{7B62E480-7981-4CB4-8BDC-B43B16217FDC}" dt="2023-08-25T09:51:06.119" v="18298" actId="14100"/>
          <ac:spMkLst>
            <pc:docMk/>
            <pc:sldMk cId="3548897287" sldId="259"/>
            <ac:spMk id="4" creationId="{25A4E976-D44C-5179-A225-43D88668B9DF}"/>
          </ac:spMkLst>
        </pc:spChg>
        <pc:spChg chg="del mod">
          <ac:chgData name="Natakala, Dak" userId="cd0822e5-8453-49cd-b7f2-0e1ddb2cf849" providerId="ADAL" clId="{7B62E480-7981-4CB4-8BDC-B43B16217FDC}" dt="2023-08-21T12:48:12.147" v="523" actId="478"/>
          <ac:spMkLst>
            <pc:docMk/>
            <pc:sldMk cId="3548897287" sldId="259"/>
            <ac:spMk id="4" creationId="{681E76F2-DB36-F62F-172D-82D2981DC100}"/>
          </ac:spMkLst>
        </pc:spChg>
        <pc:spChg chg="add mod">
          <ac:chgData name="Natakala, Dak" userId="cd0822e5-8453-49cd-b7f2-0e1ddb2cf849" providerId="ADAL" clId="{7B62E480-7981-4CB4-8BDC-B43B16217FDC}" dt="2023-08-25T09:51:37.884" v="18304" actId="1076"/>
          <ac:spMkLst>
            <pc:docMk/>
            <pc:sldMk cId="3548897287" sldId="259"/>
            <ac:spMk id="5" creationId="{40AEDC97-5AC9-18B9-FA51-240AB7AFB9CD}"/>
          </ac:spMkLst>
        </pc:spChg>
        <pc:spChg chg="add mod">
          <ac:chgData name="Natakala, Dak" userId="cd0822e5-8453-49cd-b7f2-0e1ddb2cf849" providerId="ADAL" clId="{7B62E480-7981-4CB4-8BDC-B43B16217FDC}" dt="2023-08-25T09:51:51.251" v="18308" actId="1076"/>
          <ac:spMkLst>
            <pc:docMk/>
            <pc:sldMk cId="3548897287" sldId="259"/>
            <ac:spMk id="6" creationId="{6BDC07AB-93FB-1C37-03E3-EA752F36A219}"/>
          </ac:spMkLst>
        </pc:spChg>
        <pc:spChg chg="mod">
          <ac:chgData name="Natakala, Dak" userId="cd0822e5-8453-49cd-b7f2-0e1ddb2cf849" providerId="ADAL" clId="{7B62E480-7981-4CB4-8BDC-B43B16217FDC}" dt="2023-08-22T15:06:16.728" v="7729" actId="20577"/>
          <ac:spMkLst>
            <pc:docMk/>
            <pc:sldMk cId="3548897287" sldId="259"/>
            <ac:spMk id="7" creationId="{2A07891F-ACFE-D2F7-B20C-2F3D65707F02}"/>
          </ac:spMkLst>
        </pc:spChg>
        <pc:spChg chg="del mod">
          <ac:chgData name="Natakala, Dak" userId="cd0822e5-8453-49cd-b7f2-0e1ddb2cf849" providerId="ADAL" clId="{7B62E480-7981-4CB4-8BDC-B43B16217FDC}" dt="2023-08-21T12:57:05.721" v="946" actId="478"/>
          <ac:spMkLst>
            <pc:docMk/>
            <pc:sldMk cId="3548897287" sldId="259"/>
            <ac:spMk id="8" creationId="{CA7D5DA9-C762-A7F3-C8B5-028D1E117DF1}"/>
          </ac:spMkLst>
        </pc:spChg>
        <pc:spChg chg="del">
          <ac:chgData name="Natakala, Dak" userId="cd0822e5-8453-49cd-b7f2-0e1ddb2cf849" providerId="ADAL" clId="{7B62E480-7981-4CB4-8BDC-B43B16217FDC}" dt="2023-08-23T13:03:52.709" v="11449" actId="478"/>
          <ac:spMkLst>
            <pc:docMk/>
            <pc:sldMk cId="3548897287" sldId="259"/>
            <ac:spMk id="9" creationId="{CE4235CC-4290-42F7-6333-C4A39938B4FA}"/>
          </ac:spMkLst>
        </pc:spChg>
        <pc:spChg chg="mod topLvl">
          <ac:chgData name="Natakala, Dak" userId="cd0822e5-8453-49cd-b7f2-0e1ddb2cf849" providerId="ADAL" clId="{7B62E480-7981-4CB4-8BDC-B43B16217FDC}" dt="2023-08-23T13:21:10.790" v="13385" actId="165"/>
          <ac:spMkLst>
            <pc:docMk/>
            <pc:sldMk cId="3548897287" sldId="259"/>
            <ac:spMk id="12" creationId="{60831BDE-F301-994B-A1EE-595A619EC8A5}"/>
          </ac:spMkLst>
        </pc:spChg>
        <pc:spChg chg="mod topLvl">
          <ac:chgData name="Natakala, Dak" userId="cd0822e5-8453-49cd-b7f2-0e1ddb2cf849" providerId="ADAL" clId="{7B62E480-7981-4CB4-8BDC-B43B16217FDC}" dt="2023-08-23T13:21:10.790" v="13385" actId="165"/>
          <ac:spMkLst>
            <pc:docMk/>
            <pc:sldMk cId="3548897287" sldId="259"/>
            <ac:spMk id="13" creationId="{5CDB8E4A-69AF-B01F-8A85-C5DC2D465954}"/>
          </ac:spMkLst>
        </pc:spChg>
        <pc:spChg chg="mod topLvl">
          <ac:chgData name="Natakala, Dak" userId="cd0822e5-8453-49cd-b7f2-0e1ddb2cf849" providerId="ADAL" clId="{7B62E480-7981-4CB4-8BDC-B43B16217FDC}" dt="2023-08-23T13:24:10.577" v="13449" actId="20577"/>
          <ac:spMkLst>
            <pc:docMk/>
            <pc:sldMk cId="3548897287" sldId="259"/>
            <ac:spMk id="14" creationId="{70B3C380-2587-2210-A379-93B70E15EB88}"/>
          </ac:spMkLst>
        </pc:spChg>
        <pc:spChg chg="mod topLvl">
          <ac:chgData name="Natakala, Dak" userId="cd0822e5-8453-49cd-b7f2-0e1ddb2cf849" providerId="ADAL" clId="{7B62E480-7981-4CB4-8BDC-B43B16217FDC}" dt="2023-08-23T13:21:10.790" v="13385" actId="165"/>
          <ac:spMkLst>
            <pc:docMk/>
            <pc:sldMk cId="3548897287" sldId="259"/>
            <ac:spMk id="15" creationId="{0E9A63E0-1F6B-7746-0624-0871BF83257E}"/>
          </ac:spMkLst>
        </pc:spChg>
        <pc:spChg chg="mod topLvl">
          <ac:chgData name="Natakala, Dak" userId="cd0822e5-8453-49cd-b7f2-0e1ddb2cf849" providerId="ADAL" clId="{7B62E480-7981-4CB4-8BDC-B43B16217FDC}" dt="2023-08-23T13:21:10.790" v="13385" actId="165"/>
          <ac:spMkLst>
            <pc:docMk/>
            <pc:sldMk cId="3548897287" sldId="259"/>
            <ac:spMk id="16" creationId="{90CD5B97-8ABB-0A73-CC33-9D5924B84801}"/>
          </ac:spMkLst>
        </pc:spChg>
        <pc:spChg chg="mod topLvl">
          <ac:chgData name="Natakala, Dak" userId="cd0822e5-8453-49cd-b7f2-0e1ddb2cf849" providerId="ADAL" clId="{7B62E480-7981-4CB4-8BDC-B43B16217FDC}" dt="2023-08-23T13:21:10.790" v="13385" actId="165"/>
          <ac:spMkLst>
            <pc:docMk/>
            <pc:sldMk cId="3548897287" sldId="259"/>
            <ac:spMk id="17" creationId="{AABFFF63-47B9-2CB2-741D-2D9BADBECB0A}"/>
          </ac:spMkLst>
        </pc:spChg>
        <pc:spChg chg="del mod">
          <ac:chgData name="Natakala, Dak" userId="cd0822e5-8453-49cd-b7f2-0e1ddb2cf849" providerId="ADAL" clId="{7B62E480-7981-4CB4-8BDC-B43B16217FDC}" dt="2023-08-21T13:10:32.318" v="2380" actId="478"/>
          <ac:spMkLst>
            <pc:docMk/>
            <pc:sldMk cId="3548897287" sldId="259"/>
            <ac:spMk id="18" creationId="{744F8A84-AA32-78ED-7447-BDFB4AB30A13}"/>
          </ac:spMkLst>
        </pc:spChg>
        <pc:spChg chg="mod topLvl">
          <ac:chgData name="Natakala, Dak" userId="cd0822e5-8453-49cd-b7f2-0e1ddb2cf849" providerId="ADAL" clId="{7B62E480-7981-4CB4-8BDC-B43B16217FDC}" dt="2023-08-23T13:21:10.790" v="13385" actId="165"/>
          <ac:spMkLst>
            <pc:docMk/>
            <pc:sldMk cId="3548897287" sldId="259"/>
            <ac:spMk id="19" creationId="{26491EED-F773-C310-32F5-8CE4CD8C34C3}"/>
          </ac:spMkLst>
        </pc:spChg>
        <pc:spChg chg="mod topLvl">
          <ac:chgData name="Natakala, Dak" userId="cd0822e5-8453-49cd-b7f2-0e1ddb2cf849" providerId="ADAL" clId="{7B62E480-7981-4CB4-8BDC-B43B16217FDC}" dt="2023-08-23T13:21:10.790" v="13385" actId="165"/>
          <ac:spMkLst>
            <pc:docMk/>
            <pc:sldMk cId="3548897287" sldId="259"/>
            <ac:spMk id="20" creationId="{7B46B2D4-0210-7443-3B4D-97FCEBD07BBC}"/>
          </ac:spMkLst>
        </pc:spChg>
        <pc:spChg chg="mod topLvl">
          <ac:chgData name="Natakala, Dak" userId="cd0822e5-8453-49cd-b7f2-0e1ddb2cf849" providerId="ADAL" clId="{7B62E480-7981-4CB4-8BDC-B43B16217FDC}" dt="2023-08-23T13:21:10.790" v="13385" actId="165"/>
          <ac:spMkLst>
            <pc:docMk/>
            <pc:sldMk cId="3548897287" sldId="259"/>
            <ac:spMk id="21" creationId="{BDF7F03E-B2F8-C0C2-8310-F1BBE6E3CB17}"/>
          </ac:spMkLst>
        </pc:spChg>
        <pc:spChg chg="del mod">
          <ac:chgData name="Natakala, Dak" userId="cd0822e5-8453-49cd-b7f2-0e1ddb2cf849" providerId="ADAL" clId="{7B62E480-7981-4CB4-8BDC-B43B16217FDC}" dt="2023-08-21T12:48:10.312" v="522" actId="478"/>
          <ac:spMkLst>
            <pc:docMk/>
            <pc:sldMk cId="3548897287" sldId="259"/>
            <ac:spMk id="33" creationId="{FCA428D8-C289-DFCA-B6D6-4A48D733FA17}"/>
          </ac:spMkLst>
        </pc:spChg>
        <pc:spChg chg="del mod">
          <ac:chgData name="Natakala, Dak" userId="cd0822e5-8453-49cd-b7f2-0e1ddb2cf849" providerId="ADAL" clId="{7B62E480-7981-4CB4-8BDC-B43B16217FDC}" dt="2023-08-21T12:48:16.538" v="525" actId="478"/>
          <ac:spMkLst>
            <pc:docMk/>
            <pc:sldMk cId="3548897287" sldId="259"/>
            <ac:spMk id="34" creationId="{51D45C51-7815-9143-9119-FB928E9DA31B}"/>
          </ac:spMkLst>
        </pc:spChg>
        <pc:spChg chg="del mod">
          <ac:chgData name="Natakala, Dak" userId="cd0822e5-8453-49cd-b7f2-0e1ddb2cf849" providerId="ADAL" clId="{7B62E480-7981-4CB4-8BDC-B43B16217FDC}" dt="2023-08-21T12:48:20.982" v="527" actId="478"/>
          <ac:spMkLst>
            <pc:docMk/>
            <pc:sldMk cId="3548897287" sldId="259"/>
            <ac:spMk id="35" creationId="{928938B0-B428-5B36-AFC6-E77807D7F09D}"/>
          </ac:spMkLst>
        </pc:spChg>
        <pc:spChg chg="del mod">
          <ac:chgData name="Natakala, Dak" userId="cd0822e5-8453-49cd-b7f2-0e1ddb2cf849" providerId="ADAL" clId="{7B62E480-7981-4CB4-8BDC-B43B16217FDC}" dt="2023-08-25T09:51:46.850" v="18307" actId="478"/>
          <ac:spMkLst>
            <pc:docMk/>
            <pc:sldMk cId="3548897287" sldId="259"/>
            <ac:spMk id="37" creationId="{D8D5AF33-DF73-CA2E-FBD1-26BEAEF94EC0}"/>
          </ac:spMkLst>
        </pc:spChg>
        <pc:spChg chg="add del mod">
          <ac:chgData name="Natakala, Dak" userId="cd0822e5-8453-49cd-b7f2-0e1ddb2cf849" providerId="ADAL" clId="{7B62E480-7981-4CB4-8BDC-B43B16217FDC}" dt="2023-08-23T13:21:25.391" v="13390" actId="478"/>
          <ac:spMkLst>
            <pc:docMk/>
            <pc:sldMk cId="3548897287" sldId="259"/>
            <ac:spMk id="38" creationId="{FFFC8044-8BD2-533B-2844-F33853BBBD82}"/>
          </ac:spMkLst>
        </pc:spChg>
        <pc:spChg chg="add del mod">
          <ac:chgData name="Natakala, Dak" userId="cd0822e5-8453-49cd-b7f2-0e1ddb2cf849" providerId="ADAL" clId="{7B62E480-7981-4CB4-8BDC-B43B16217FDC}" dt="2023-08-23T13:21:36.344" v="13396" actId="478"/>
          <ac:spMkLst>
            <pc:docMk/>
            <pc:sldMk cId="3548897287" sldId="259"/>
            <ac:spMk id="39" creationId="{6E495DA1-D711-FE42-A735-614CC08DDC32}"/>
          </ac:spMkLst>
        </pc:spChg>
        <pc:spChg chg="add del mod">
          <ac:chgData name="Natakala, Dak" userId="cd0822e5-8453-49cd-b7f2-0e1ddb2cf849" providerId="ADAL" clId="{7B62E480-7981-4CB4-8BDC-B43B16217FDC}" dt="2023-08-21T13:12:49.582" v="2420"/>
          <ac:spMkLst>
            <pc:docMk/>
            <pc:sldMk cId="3548897287" sldId="259"/>
            <ac:spMk id="40" creationId="{9CB69EC6-0152-9E85-388D-9146ED6C66D4}"/>
          </ac:spMkLst>
        </pc:spChg>
        <pc:spChg chg="del mod">
          <ac:chgData name="Natakala, Dak" userId="cd0822e5-8453-49cd-b7f2-0e1ddb2cf849" providerId="ADAL" clId="{7B62E480-7981-4CB4-8BDC-B43B16217FDC}" dt="2023-08-21T13:12:49.582" v="2420"/>
          <ac:spMkLst>
            <pc:docMk/>
            <pc:sldMk cId="3548897287" sldId="259"/>
            <ac:spMk id="41" creationId="{2DE8945E-D876-D5F7-1396-99947C492E3C}"/>
          </ac:spMkLst>
        </pc:spChg>
        <pc:spChg chg="mod">
          <ac:chgData name="Natakala, Dak" userId="cd0822e5-8453-49cd-b7f2-0e1ddb2cf849" providerId="ADAL" clId="{7B62E480-7981-4CB4-8BDC-B43B16217FDC}" dt="2023-08-25T10:08:28.010" v="18357" actId="20577"/>
          <ac:spMkLst>
            <pc:docMk/>
            <pc:sldMk cId="3548897287" sldId="259"/>
            <ac:spMk id="43" creationId="{DAB2FE9A-6651-1448-A3A6-E44753EE93E6}"/>
          </ac:spMkLst>
        </pc:spChg>
        <pc:spChg chg="mod">
          <ac:chgData name="Natakala, Dak" userId="cd0822e5-8453-49cd-b7f2-0e1ddb2cf849" providerId="ADAL" clId="{7B62E480-7981-4CB4-8BDC-B43B16217FDC}" dt="2023-08-23T13:21:29.684" v="13393" actId="1076"/>
          <ac:spMkLst>
            <pc:docMk/>
            <pc:sldMk cId="3548897287" sldId="259"/>
            <ac:spMk id="44" creationId="{6193E869-7754-D476-4CCF-0FBCD1397985}"/>
          </ac:spMkLst>
        </pc:spChg>
        <pc:grpChg chg="add del mod">
          <ac:chgData name="Natakala, Dak" userId="cd0822e5-8453-49cd-b7f2-0e1ddb2cf849" providerId="ADAL" clId="{7B62E480-7981-4CB4-8BDC-B43B16217FDC}" dt="2023-08-23T13:21:10.790" v="13385" actId="165"/>
          <ac:grpSpMkLst>
            <pc:docMk/>
            <pc:sldMk cId="3548897287" sldId="259"/>
            <ac:grpSpMk id="11" creationId="{97361287-C8C6-F0C3-E27D-36CE0C8F28FB}"/>
          </ac:grpSpMkLst>
        </pc:grpChg>
        <pc:grpChg chg="mod">
          <ac:chgData name="Natakala, Dak" userId="cd0822e5-8453-49cd-b7f2-0e1ddb2cf849" providerId="ADAL" clId="{7B62E480-7981-4CB4-8BDC-B43B16217FDC}" dt="2023-08-21T12:43:42.881" v="393" actId="14100"/>
          <ac:grpSpMkLst>
            <pc:docMk/>
            <pc:sldMk cId="3548897287" sldId="259"/>
            <ac:grpSpMk id="36" creationId="{4EC7BD6F-6749-6326-ADE9-F456753A0E93}"/>
          </ac:grpSpMkLst>
        </pc:grpChg>
        <pc:grpChg chg="add mod">
          <ac:chgData name="Natakala, Dak" userId="cd0822e5-8453-49cd-b7f2-0e1ddb2cf849" providerId="ADAL" clId="{7B62E480-7981-4CB4-8BDC-B43B16217FDC}" dt="2023-08-21T13:12:49.582" v="2420"/>
          <ac:grpSpMkLst>
            <pc:docMk/>
            <pc:sldMk cId="3548897287" sldId="259"/>
            <ac:grpSpMk id="42" creationId="{C7ECFF3C-B036-D932-E9A5-B313B246F917}"/>
          </ac:grpSpMkLst>
        </pc:grpChg>
        <pc:grpChg chg="mod">
          <ac:chgData name="Natakala, Dak" userId="cd0822e5-8453-49cd-b7f2-0e1ddb2cf849" providerId="ADAL" clId="{7B62E480-7981-4CB4-8BDC-B43B16217FDC}" dt="2023-08-21T13:12:57.494" v="2430" actId="14100"/>
          <ac:grpSpMkLst>
            <pc:docMk/>
            <pc:sldMk cId="3548897287" sldId="259"/>
            <ac:grpSpMk id="45" creationId="{E719279F-7B49-DDE8-9F93-E30A2AF5DFC5}"/>
          </ac:grpSpMkLst>
        </pc:grpChg>
        <pc:cxnChg chg="del mod">
          <ac:chgData name="Natakala, Dak" userId="cd0822e5-8453-49cd-b7f2-0e1ddb2cf849" providerId="ADAL" clId="{7B62E480-7981-4CB4-8BDC-B43B16217FDC}" dt="2023-08-21T12:48:14.094" v="524" actId="478"/>
          <ac:cxnSpMkLst>
            <pc:docMk/>
            <pc:sldMk cId="3548897287" sldId="259"/>
            <ac:cxnSpMk id="3" creationId="{E5380FF0-67A6-FC4B-1856-2C20D4E5AC1D}"/>
          </ac:cxnSpMkLst>
        </pc:cxnChg>
        <pc:cxnChg chg="del">
          <ac:chgData name="Natakala, Dak" userId="cd0822e5-8453-49cd-b7f2-0e1ddb2cf849" providerId="ADAL" clId="{7B62E480-7981-4CB4-8BDC-B43B16217FDC}" dt="2023-08-21T12:48:19.029" v="526" actId="478"/>
          <ac:cxnSpMkLst>
            <pc:docMk/>
            <pc:sldMk cId="3548897287" sldId="259"/>
            <ac:cxnSpMk id="5" creationId="{71B1B2FC-0BE8-1B73-6C4B-846A1891DE8E}"/>
          </ac:cxnSpMkLst>
        </pc:cxnChg>
        <pc:cxnChg chg="del">
          <ac:chgData name="Natakala, Dak" userId="cd0822e5-8453-49cd-b7f2-0e1ddb2cf849" providerId="ADAL" clId="{7B62E480-7981-4CB4-8BDC-B43B16217FDC}" dt="2023-08-21T12:48:22.252" v="528" actId="478"/>
          <ac:cxnSpMkLst>
            <pc:docMk/>
            <pc:sldMk cId="3548897287" sldId="259"/>
            <ac:cxnSpMk id="6" creationId="{32554B1F-A204-021B-AADC-AB01F5594359}"/>
          </ac:cxnSpMkLst>
        </pc:cxnChg>
      </pc:sldChg>
      <pc:sldChg chg="delSp modSp mod ord">
        <pc:chgData name="Natakala, Dak" userId="cd0822e5-8453-49cd-b7f2-0e1ddb2cf849" providerId="ADAL" clId="{7B62E480-7981-4CB4-8BDC-B43B16217FDC}" dt="2023-08-25T08:58:53.040" v="17829" actId="20577"/>
        <pc:sldMkLst>
          <pc:docMk/>
          <pc:sldMk cId="1015466108" sldId="260"/>
        </pc:sldMkLst>
        <pc:spChg chg="del mod">
          <ac:chgData name="Natakala, Dak" userId="cd0822e5-8453-49cd-b7f2-0e1ddb2cf849" providerId="ADAL" clId="{7B62E480-7981-4CB4-8BDC-B43B16217FDC}" dt="2023-08-23T13:00:43.314" v="11324" actId="478"/>
          <ac:spMkLst>
            <pc:docMk/>
            <pc:sldMk cId="1015466108" sldId="260"/>
            <ac:spMk id="7" creationId="{035A4256-A368-EBF2-DF32-BEF0B0C6141D}"/>
          </ac:spMkLst>
        </pc:spChg>
        <pc:spChg chg="mod">
          <ac:chgData name="Natakala, Dak" userId="cd0822e5-8453-49cd-b7f2-0e1ddb2cf849" providerId="ADAL" clId="{7B62E480-7981-4CB4-8BDC-B43B16217FDC}" dt="2023-08-23T12:50:15.651" v="10842" actId="20577"/>
          <ac:spMkLst>
            <pc:docMk/>
            <pc:sldMk cId="1015466108" sldId="260"/>
            <ac:spMk id="8" creationId="{F294E75A-EAD3-03ED-8A51-B67E5EF1A187}"/>
          </ac:spMkLst>
        </pc:spChg>
        <pc:spChg chg="mod">
          <ac:chgData name="Natakala, Dak" userId="cd0822e5-8453-49cd-b7f2-0e1ddb2cf849" providerId="ADAL" clId="{7B62E480-7981-4CB4-8BDC-B43B16217FDC}" dt="2023-08-25T08:58:53.040" v="17829" actId="20577"/>
          <ac:spMkLst>
            <pc:docMk/>
            <pc:sldMk cId="1015466108" sldId="260"/>
            <ac:spMk id="9" creationId="{32B98024-D8F9-4CA4-FBBF-08476BA74738}"/>
          </ac:spMkLst>
        </pc:spChg>
      </pc:sldChg>
      <pc:sldChg chg="addSp delSp modSp mod modNotesTx">
        <pc:chgData name="Natakala, Dak" userId="cd0822e5-8453-49cd-b7f2-0e1ddb2cf849" providerId="ADAL" clId="{7B62E480-7981-4CB4-8BDC-B43B16217FDC}" dt="2023-08-25T10:36:24.333" v="18537" actId="20577"/>
        <pc:sldMkLst>
          <pc:docMk/>
          <pc:sldMk cId="3371860088" sldId="261"/>
        </pc:sldMkLst>
        <pc:spChg chg="mod">
          <ac:chgData name="Natakala, Dak" userId="cd0822e5-8453-49cd-b7f2-0e1ddb2cf849" providerId="ADAL" clId="{7B62E480-7981-4CB4-8BDC-B43B16217FDC}" dt="2023-08-23T13:13:27.711" v="12776" actId="20577"/>
          <ac:spMkLst>
            <pc:docMk/>
            <pc:sldMk cId="3371860088" sldId="261"/>
            <ac:spMk id="2" creationId="{A3E104C6-D83B-2F49-5AAD-F9C936E95684}"/>
          </ac:spMkLst>
        </pc:spChg>
        <pc:spChg chg="del">
          <ac:chgData name="Natakala, Dak" userId="cd0822e5-8453-49cd-b7f2-0e1ddb2cf849" providerId="ADAL" clId="{7B62E480-7981-4CB4-8BDC-B43B16217FDC}" dt="2023-08-24T15:44:10.511" v="16159" actId="478"/>
          <ac:spMkLst>
            <pc:docMk/>
            <pc:sldMk cId="3371860088" sldId="261"/>
            <ac:spMk id="3" creationId="{14274C68-9067-994D-C6C8-5DDD14A5FD9E}"/>
          </ac:spMkLst>
        </pc:spChg>
        <pc:spChg chg="mod">
          <ac:chgData name="Natakala, Dak" userId="cd0822e5-8453-49cd-b7f2-0e1ddb2cf849" providerId="ADAL" clId="{7B62E480-7981-4CB4-8BDC-B43B16217FDC}" dt="2023-08-24T16:10:50.308" v="16427" actId="20577"/>
          <ac:spMkLst>
            <pc:docMk/>
            <pc:sldMk cId="3371860088" sldId="261"/>
            <ac:spMk id="5" creationId="{B8D304AA-FC13-255E-AEE0-1C4D09970C5F}"/>
          </ac:spMkLst>
        </pc:spChg>
        <pc:spChg chg="mod">
          <ac:chgData name="Natakala, Dak" userId="cd0822e5-8453-49cd-b7f2-0e1ddb2cf849" providerId="ADAL" clId="{7B62E480-7981-4CB4-8BDC-B43B16217FDC}" dt="2023-08-24T16:08:48.510" v="16418" actId="20577"/>
          <ac:spMkLst>
            <pc:docMk/>
            <pc:sldMk cId="3371860088" sldId="261"/>
            <ac:spMk id="6" creationId="{693C8E67-0FC8-2670-5D48-11943228FA42}"/>
          </ac:spMkLst>
        </pc:spChg>
        <pc:spChg chg="mod">
          <ac:chgData name="Natakala, Dak" userId="cd0822e5-8453-49cd-b7f2-0e1ddb2cf849" providerId="ADAL" clId="{7B62E480-7981-4CB4-8BDC-B43B16217FDC}" dt="2023-08-24T15:48:31.036" v="16294" actId="14100"/>
          <ac:spMkLst>
            <pc:docMk/>
            <pc:sldMk cId="3371860088" sldId="261"/>
            <ac:spMk id="7" creationId="{4CD2068B-7D63-28E3-0A9B-F9DE4E7B3876}"/>
          </ac:spMkLst>
        </pc:spChg>
        <pc:spChg chg="mod">
          <ac:chgData name="Natakala, Dak" userId="cd0822e5-8453-49cd-b7f2-0e1ddb2cf849" providerId="ADAL" clId="{7B62E480-7981-4CB4-8BDC-B43B16217FDC}" dt="2023-08-24T15:47:22.343" v="16278" actId="20577"/>
          <ac:spMkLst>
            <pc:docMk/>
            <pc:sldMk cId="3371860088" sldId="261"/>
            <ac:spMk id="8" creationId="{03CF73D9-ABD5-46CF-09B9-E6C86D52DB8D}"/>
          </ac:spMkLst>
        </pc:spChg>
        <pc:spChg chg="mod">
          <ac:chgData name="Natakala, Dak" userId="cd0822e5-8453-49cd-b7f2-0e1ddb2cf849" providerId="ADAL" clId="{7B62E480-7981-4CB4-8BDC-B43B16217FDC}" dt="2023-08-24T15:44:19.003" v="16160" actId="1076"/>
          <ac:spMkLst>
            <pc:docMk/>
            <pc:sldMk cId="3371860088" sldId="261"/>
            <ac:spMk id="9" creationId="{26C8BC92-8937-6010-B0C8-ACDD0F53C843}"/>
          </ac:spMkLst>
        </pc:spChg>
        <pc:spChg chg="mod">
          <ac:chgData name="Natakala, Dak" userId="cd0822e5-8453-49cd-b7f2-0e1ddb2cf849" providerId="ADAL" clId="{7B62E480-7981-4CB4-8BDC-B43B16217FDC}" dt="2023-08-24T16:11:13.918" v="16428" actId="14100"/>
          <ac:spMkLst>
            <pc:docMk/>
            <pc:sldMk cId="3371860088" sldId="261"/>
            <ac:spMk id="10" creationId="{62A0B439-C470-CDCC-E8A9-0D475BF6FFD8}"/>
          </ac:spMkLst>
        </pc:spChg>
        <pc:spChg chg="add mod">
          <ac:chgData name="Natakala, Dak" userId="cd0822e5-8453-49cd-b7f2-0e1ddb2cf849" providerId="ADAL" clId="{7B62E480-7981-4CB4-8BDC-B43B16217FDC}" dt="2023-08-24T15:47:11.890" v="16261" actId="14100"/>
          <ac:spMkLst>
            <pc:docMk/>
            <pc:sldMk cId="3371860088" sldId="261"/>
            <ac:spMk id="11" creationId="{A6A6A79D-3B93-1120-61D4-3B4F973EE269}"/>
          </ac:spMkLst>
        </pc:spChg>
        <pc:spChg chg="add mod">
          <ac:chgData name="Natakala, Dak" userId="cd0822e5-8453-49cd-b7f2-0e1ddb2cf849" providerId="ADAL" clId="{7B62E480-7981-4CB4-8BDC-B43B16217FDC}" dt="2023-08-24T15:48:49.117" v="16297" actId="1076"/>
          <ac:spMkLst>
            <pc:docMk/>
            <pc:sldMk cId="3371860088" sldId="261"/>
            <ac:spMk id="12" creationId="{B6752427-4673-28DE-7040-32AA53DAB839}"/>
          </ac:spMkLst>
        </pc:spChg>
        <pc:spChg chg="add mod">
          <ac:chgData name="Natakala, Dak" userId="cd0822e5-8453-49cd-b7f2-0e1ddb2cf849" providerId="ADAL" clId="{7B62E480-7981-4CB4-8BDC-B43B16217FDC}" dt="2023-08-24T15:49:35.149" v="16371" actId="1076"/>
          <ac:spMkLst>
            <pc:docMk/>
            <pc:sldMk cId="3371860088" sldId="261"/>
            <ac:spMk id="13" creationId="{7643E744-6EFC-59B8-C8F8-ED4BB93AF404}"/>
          </ac:spMkLst>
        </pc:spChg>
      </pc:sldChg>
      <pc:sldChg chg="modSp new del mod">
        <pc:chgData name="Natakala, Dak" userId="cd0822e5-8453-49cd-b7f2-0e1ddb2cf849" providerId="ADAL" clId="{7B62E480-7981-4CB4-8BDC-B43B16217FDC}" dt="2023-08-21T13:13:57.066" v="2528" actId="2696"/>
        <pc:sldMkLst>
          <pc:docMk/>
          <pc:sldMk cId="1224609250" sldId="262"/>
        </pc:sldMkLst>
        <pc:spChg chg="mod">
          <ac:chgData name="Natakala, Dak" userId="cd0822e5-8453-49cd-b7f2-0e1ddb2cf849" providerId="ADAL" clId="{7B62E480-7981-4CB4-8BDC-B43B16217FDC}" dt="2023-08-21T12:45:27.135" v="459" actId="947"/>
          <ac:spMkLst>
            <pc:docMk/>
            <pc:sldMk cId="1224609250" sldId="262"/>
            <ac:spMk id="9" creationId="{0BCA9D4D-5EEB-BB91-32AE-44843124CF26}"/>
          </ac:spMkLst>
        </pc:spChg>
        <pc:spChg chg="mod">
          <ac:chgData name="Natakala, Dak" userId="cd0822e5-8453-49cd-b7f2-0e1ddb2cf849" providerId="ADAL" clId="{7B62E480-7981-4CB4-8BDC-B43B16217FDC}" dt="2023-08-21T12:45:27.138" v="460" actId="947"/>
          <ac:spMkLst>
            <pc:docMk/>
            <pc:sldMk cId="1224609250" sldId="262"/>
            <ac:spMk id="10" creationId="{00E9B0FC-EFDE-AD62-9CA2-48E0FC843193}"/>
          </ac:spMkLst>
        </pc:spChg>
        <pc:spChg chg="mod">
          <ac:chgData name="Natakala, Dak" userId="cd0822e5-8453-49cd-b7f2-0e1ddb2cf849" providerId="ADAL" clId="{7B62E480-7981-4CB4-8BDC-B43B16217FDC}" dt="2023-08-21T12:45:46.394" v="498" actId="20577"/>
          <ac:spMkLst>
            <pc:docMk/>
            <pc:sldMk cId="1224609250" sldId="262"/>
            <ac:spMk id="11" creationId="{4B293F37-4E70-563A-DCC3-410ABADF8005}"/>
          </ac:spMkLst>
        </pc:spChg>
        <pc:spChg chg="mod">
          <ac:chgData name="Natakala, Dak" userId="cd0822e5-8453-49cd-b7f2-0e1ddb2cf849" providerId="ADAL" clId="{7B62E480-7981-4CB4-8BDC-B43B16217FDC}" dt="2023-08-21T12:46:00.088" v="521" actId="20577"/>
          <ac:spMkLst>
            <pc:docMk/>
            <pc:sldMk cId="1224609250" sldId="262"/>
            <ac:spMk id="12" creationId="{15679685-47B8-11C2-7E4B-AB3840C6DA6D}"/>
          </ac:spMkLst>
        </pc:spChg>
        <pc:spChg chg="mod">
          <ac:chgData name="Natakala, Dak" userId="cd0822e5-8453-49cd-b7f2-0e1ddb2cf849" providerId="ADAL" clId="{7B62E480-7981-4CB4-8BDC-B43B16217FDC}" dt="2023-08-21T12:45:27.146" v="463" actId="947"/>
          <ac:spMkLst>
            <pc:docMk/>
            <pc:sldMk cId="1224609250" sldId="262"/>
            <ac:spMk id="13" creationId="{9B9BFEDE-CF7A-8996-CCF3-EEC21A48F536}"/>
          </ac:spMkLst>
        </pc:spChg>
        <pc:spChg chg="mod">
          <ac:chgData name="Natakala, Dak" userId="cd0822e5-8453-49cd-b7f2-0e1ddb2cf849" providerId="ADAL" clId="{7B62E480-7981-4CB4-8BDC-B43B16217FDC}" dt="2023-08-21T12:45:41.758" v="491" actId="20577"/>
          <ac:spMkLst>
            <pc:docMk/>
            <pc:sldMk cId="1224609250" sldId="262"/>
            <ac:spMk id="14" creationId="{8443D639-2B5D-0919-239F-0981ADCE3310}"/>
          </ac:spMkLst>
        </pc:spChg>
        <pc:grpChg chg="mod">
          <ac:chgData name="Natakala, Dak" userId="cd0822e5-8453-49cd-b7f2-0e1ddb2cf849" providerId="ADAL" clId="{7B62E480-7981-4CB4-8BDC-B43B16217FDC}" dt="2023-08-21T12:45:27.152" v="468" actId="14100"/>
          <ac:grpSpMkLst>
            <pc:docMk/>
            <pc:sldMk cId="1224609250" sldId="262"/>
            <ac:grpSpMk id="15" creationId="{DA6A9442-916B-AFDB-F731-513C1B0EB3F9}"/>
          </ac:grpSpMkLst>
        </pc:grpChg>
      </pc:sldChg>
      <pc:sldChg chg="addSp delSp modSp new mod modNotesTx">
        <pc:chgData name="Natakala, Dak" userId="cd0822e5-8453-49cd-b7f2-0e1ddb2cf849" providerId="ADAL" clId="{7B62E480-7981-4CB4-8BDC-B43B16217FDC}" dt="2023-08-25T10:36:06.298" v="18479"/>
        <pc:sldMkLst>
          <pc:docMk/>
          <pc:sldMk cId="1940612899" sldId="262"/>
        </pc:sldMkLst>
        <pc:spChg chg="mod">
          <ac:chgData name="Natakala, Dak" userId="cd0822e5-8453-49cd-b7f2-0e1ddb2cf849" providerId="ADAL" clId="{7B62E480-7981-4CB4-8BDC-B43B16217FDC}" dt="2023-08-25T09:40:36.679" v="18198" actId="20577"/>
          <ac:spMkLst>
            <pc:docMk/>
            <pc:sldMk cId="1940612899" sldId="262"/>
            <ac:spMk id="2" creationId="{B78FBE61-6946-350A-7BC9-5DB97DC1A6F9}"/>
          </ac:spMkLst>
        </pc:spChg>
        <pc:spChg chg="mod">
          <ac:chgData name="Natakala, Dak" userId="cd0822e5-8453-49cd-b7f2-0e1ddb2cf849" providerId="ADAL" clId="{7B62E480-7981-4CB4-8BDC-B43B16217FDC}" dt="2023-08-23T13:24:48.748" v="13455" actId="403"/>
          <ac:spMkLst>
            <pc:docMk/>
            <pc:sldMk cId="1940612899" sldId="262"/>
            <ac:spMk id="3" creationId="{E0B22F4B-EE83-BFD8-5E4A-F08737DEE6AC}"/>
          </ac:spMkLst>
        </pc:spChg>
        <pc:spChg chg="del mod">
          <ac:chgData name="Natakala, Dak" userId="cd0822e5-8453-49cd-b7f2-0e1ddb2cf849" providerId="ADAL" clId="{7B62E480-7981-4CB4-8BDC-B43B16217FDC}" dt="2023-08-21T13:16:21.642" v="2588"/>
          <ac:spMkLst>
            <pc:docMk/>
            <pc:sldMk cId="1940612899" sldId="262"/>
            <ac:spMk id="5" creationId="{A5E7D5E6-9D1C-DE5F-79E9-02B084560CA3}"/>
          </ac:spMkLst>
        </pc:spChg>
        <pc:spChg chg="add mod">
          <ac:chgData name="Natakala, Dak" userId="cd0822e5-8453-49cd-b7f2-0e1ddb2cf849" providerId="ADAL" clId="{7B62E480-7981-4CB4-8BDC-B43B16217FDC}" dt="2023-08-23T13:27:29.362" v="13800" actId="404"/>
          <ac:spMkLst>
            <pc:docMk/>
            <pc:sldMk cId="1940612899" sldId="262"/>
            <ac:spMk id="5" creationId="{D1951B5B-BDAA-9919-468A-49AA91FAE7DB}"/>
          </ac:spMkLst>
        </pc:spChg>
        <pc:spChg chg="add mod">
          <ac:chgData name="Natakala, Dak" userId="cd0822e5-8453-49cd-b7f2-0e1ddb2cf849" providerId="ADAL" clId="{7B62E480-7981-4CB4-8BDC-B43B16217FDC}" dt="2023-08-23T13:24:59.847" v="13457" actId="1076"/>
          <ac:spMkLst>
            <pc:docMk/>
            <pc:sldMk cId="1940612899" sldId="262"/>
            <ac:spMk id="6" creationId="{D8EFA48A-D50A-1DDF-DD85-EA1305DBF9FA}"/>
          </ac:spMkLst>
        </pc:spChg>
        <pc:spChg chg="del mod">
          <ac:chgData name="Natakala, Dak" userId="cd0822e5-8453-49cd-b7f2-0e1ddb2cf849" providerId="ADAL" clId="{7B62E480-7981-4CB4-8BDC-B43B16217FDC}" dt="2023-08-21T13:16:21.642" v="2588"/>
          <ac:spMkLst>
            <pc:docMk/>
            <pc:sldMk cId="1940612899" sldId="262"/>
            <ac:spMk id="6" creationId="{ED5C86C1-15E3-87EF-FD4D-F4458683C43A}"/>
          </ac:spMkLst>
        </pc:spChg>
        <pc:spChg chg="del mod">
          <ac:chgData name="Natakala, Dak" userId="cd0822e5-8453-49cd-b7f2-0e1ddb2cf849" providerId="ADAL" clId="{7B62E480-7981-4CB4-8BDC-B43B16217FDC}" dt="2023-08-21T13:17:38.363" v="2615"/>
          <ac:spMkLst>
            <pc:docMk/>
            <pc:sldMk cId="1940612899" sldId="262"/>
            <ac:spMk id="8" creationId="{5B3BFD4F-A776-550C-78CA-51712F194224}"/>
          </ac:spMkLst>
        </pc:spChg>
        <pc:spChg chg="del mod">
          <ac:chgData name="Natakala, Dak" userId="cd0822e5-8453-49cd-b7f2-0e1ddb2cf849" providerId="ADAL" clId="{7B62E480-7981-4CB4-8BDC-B43B16217FDC}" dt="2023-08-21T13:17:38.363" v="2615"/>
          <ac:spMkLst>
            <pc:docMk/>
            <pc:sldMk cId="1940612899" sldId="262"/>
            <ac:spMk id="9" creationId="{A636243B-5187-8F23-A7B6-69BAD9C788D9}"/>
          </ac:spMkLst>
        </pc:spChg>
        <pc:spChg chg="del mod">
          <ac:chgData name="Natakala, Dak" userId="cd0822e5-8453-49cd-b7f2-0e1ddb2cf849" providerId="ADAL" clId="{7B62E480-7981-4CB4-8BDC-B43B16217FDC}" dt="2023-08-21T13:17:38.363" v="2615"/>
          <ac:spMkLst>
            <pc:docMk/>
            <pc:sldMk cId="1940612899" sldId="262"/>
            <ac:spMk id="10" creationId="{DD2970FB-24A9-3044-2D66-7D9A6A26369D}"/>
          </ac:spMkLst>
        </pc:spChg>
        <pc:spChg chg="del mod">
          <ac:chgData name="Natakala, Dak" userId="cd0822e5-8453-49cd-b7f2-0e1ddb2cf849" providerId="ADAL" clId="{7B62E480-7981-4CB4-8BDC-B43B16217FDC}" dt="2023-08-21T13:17:38.363" v="2615"/>
          <ac:spMkLst>
            <pc:docMk/>
            <pc:sldMk cId="1940612899" sldId="262"/>
            <ac:spMk id="11" creationId="{38D3DDC9-59F3-27DF-058B-EA36ADE17FAE}"/>
          </ac:spMkLst>
        </pc:spChg>
        <pc:spChg chg="del mod">
          <ac:chgData name="Natakala, Dak" userId="cd0822e5-8453-49cd-b7f2-0e1ddb2cf849" providerId="ADAL" clId="{7B62E480-7981-4CB4-8BDC-B43B16217FDC}" dt="2023-08-21T13:17:38.363" v="2615"/>
          <ac:spMkLst>
            <pc:docMk/>
            <pc:sldMk cId="1940612899" sldId="262"/>
            <ac:spMk id="12" creationId="{3980D212-E6CD-3A5C-E616-F225B2E5F768}"/>
          </ac:spMkLst>
        </pc:spChg>
        <pc:spChg chg="mod">
          <ac:chgData name="Natakala, Dak" userId="cd0822e5-8453-49cd-b7f2-0e1ddb2cf849" providerId="ADAL" clId="{7B62E480-7981-4CB4-8BDC-B43B16217FDC}" dt="2023-08-23T13:24:21.118" v="13450" actId="403"/>
          <ac:spMkLst>
            <pc:docMk/>
            <pc:sldMk cId="1940612899" sldId="262"/>
            <ac:spMk id="14" creationId="{91B880F0-7F51-E1B2-FA9A-D8F9F4D295F9}"/>
          </ac:spMkLst>
        </pc:spChg>
        <pc:spChg chg="mod">
          <ac:chgData name="Natakala, Dak" userId="cd0822e5-8453-49cd-b7f2-0e1ddb2cf849" providerId="ADAL" clId="{7B62E480-7981-4CB4-8BDC-B43B16217FDC}" dt="2023-08-25T10:11:59.631" v="18363" actId="20577"/>
          <ac:spMkLst>
            <pc:docMk/>
            <pc:sldMk cId="1940612899" sldId="262"/>
            <ac:spMk id="15" creationId="{22CF1268-F06D-8D2D-F0CB-B795F9D22D84}"/>
          </ac:spMkLst>
        </pc:spChg>
        <pc:spChg chg="mod">
          <ac:chgData name="Natakala, Dak" userId="cd0822e5-8453-49cd-b7f2-0e1ddb2cf849" providerId="ADAL" clId="{7B62E480-7981-4CB4-8BDC-B43B16217FDC}" dt="2023-08-23T11:51:57.300" v="8992" actId="14100"/>
          <ac:spMkLst>
            <pc:docMk/>
            <pc:sldMk cId="1940612899" sldId="262"/>
            <ac:spMk id="16" creationId="{78E34F67-57CD-B862-8368-05602C961054}"/>
          </ac:spMkLst>
        </pc:spChg>
        <pc:spChg chg="mod">
          <ac:chgData name="Natakala, Dak" userId="cd0822e5-8453-49cd-b7f2-0e1ddb2cf849" providerId="ADAL" clId="{7B62E480-7981-4CB4-8BDC-B43B16217FDC}" dt="2023-08-23T11:52:03.305" v="8994" actId="14100"/>
          <ac:spMkLst>
            <pc:docMk/>
            <pc:sldMk cId="1940612899" sldId="262"/>
            <ac:spMk id="17" creationId="{8FE9847D-FEB2-6669-E6F2-A3D4AD957A3C}"/>
          </ac:spMkLst>
        </pc:spChg>
        <pc:grpChg chg="add mod">
          <ac:chgData name="Natakala, Dak" userId="cd0822e5-8453-49cd-b7f2-0e1ddb2cf849" providerId="ADAL" clId="{7B62E480-7981-4CB4-8BDC-B43B16217FDC}" dt="2023-08-21T13:16:21.642" v="2588"/>
          <ac:grpSpMkLst>
            <pc:docMk/>
            <pc:sldMk cId="1940612899" sldId="262"/>
            <ac:grpSpMk id="7" creationId="{651E90A9-1BD7-D80E-EFBE-FABC4B53F445}"/>
          </ac:grpSpMkLst>
        </pc:grpChg>
        <pc:grpChg chg="add mod">
          <ac:chgData name="Natakala, Dak" userId="cd0822e5-8453-49cd-b7f2-0e1ddb2cf849" providerId="ADAL" clId="{7B62E480-7981-4CB4-8BDC-B43B16217FDC}" dt="2023-08-21T13:17:38.363" v="2615"/>
          <ac:grpSpMkLst>
            <pc:docMk/>
            <pc:sldMk cId="1940612899" sldId="262"/>
            <ac:grpSpMk id="13" creationId="{66497E5C-9DCD-EC9B-C61D-3BCE9BFDF785}"/>
          </ac:grpSpMkLst>
        </pc:grpChg>
        <pc:grpChg chg="mod">
          <ac:chgData name="Natakala, Dak" userId="cd0822e5-8453-49cd-b7f2-0e1ddb2cf849" providerId="ADAL" clId="{7B62E480-7981-4CB4-8BDC-B43B16217FDC}" dt="2023-08-21T13:21:31.959" v="2652" actId="14100"/>
          <ac:grpSpMkLst>
            <pc:docMk/>
            <pc:sldMk cId="1940612899" sldId="262"/>
            <ac:grpSpMk id="18" creationId="{FB06B104-EB58-1478-7362-DC4CFFD7E135}"/>
          </ac:grpSpMkLst>
        </pc:grpChg>
        <pc:inkChg chg="add">
          <ac:chgData name="Natakala, Dak" userId="cd0822e5-8453-49cd-b7f2-0e1ddb2cf849" providerId="ADAL" clId="{7B62E480-7981-4CB4-8BDC-B43B16217FDC}" dt="2023-08-24T18:15:49.752" v="16771" actId="9405"/>
          <ac:inkMkLst>
            <pc:docMk/>
            <pc:sldMk cId="1940612899" sldId="262"/>
            <ac:inkMk id="7" creationId="{229A004F-10AD-8707-0388-00A06F187DC0}"/>
          </ac:inkMkLst>
        </pc:inkChg>
      </pc:sldChg>
      <pc:sldChg chg="addSp delSp modSp new mod modNotesTx">
        <pc:chgData name="Natakala, Dak" userId="cd0822e5-8453-49cd-b7f2-0e1ddb2cf849" providerId="ADAL" clId="{7B62E480-7981-4CB4-8BDC-B43B16217FDC}" dt="2023-08-25T10:37:02.300" v="18542" actId="20577"/>
        <pc:sldMkLst>
          <pc:docMk/>
          <pc:sldMk cId="1899304823" sldId="263"/>
        </pc:sldMkLst>
        <pc:spChg chg="mod">
          <ac:chgData name="Natakala, Dak" userId="cd0822e5-8453-49cd-b7f2-0e1ddb2cf849" providerId="ADAL" clId="{7B62E480-7981-4CB4-8BDC-B43B16217FDC}" dt="2023-08-25T09:25:25.722" v="18031" actId="20577"/>
          <ac:spMkLst>
            <pc:docMk/>
            <pc:sldMk cId="1899304823" sldId="263"/>
            <ac:spMk id="2" creationId="{B5028AF0-81F4-30E4-AFCF-C5E849E8B4FC}"/>
          </ac:spMkLst>
        </pc:spChg>
        <pc:spChg chg="del mod">
          <ac:chgData name="Natakala, Dak" userId="cd0822e5-8453-49cd-b7f2-0e1ddb2cf849" providerId="ADAL" clId="{7B62E480-7981-4CB4-8BDC-B43B16217FDC}" dt="2023-08-23T13:28:21.673" v="13826" actId="478"/>
          <ac:spMkLst>
            <pc:docMk/>
            <pc:sldMk cId="1899304823" sldId="263"/>
            <ac:spMk id="3" creationId="{25A0BB90-15CB-7D45-6277-111321ADDFAE}"/>
          </ac:spMkLst>
        </pc:spChg>
        <pc:spChg chg="add mod">
          <ac:chgData name="Natakala, Dak" userId="cd0822e5-8453-49cd-b7f2-0e1ddb2cf849" providerId="ADAL" clId="{7B62E480-7981-4CB4-8BDC-B43B16217FDC}" dt="2023-08-25T09:13:43.485" v="17832" actId="20577"/>
          <ac:spMkLst>
            <pc:docMk/>
            <pc:sldMk cId="1899304823" sldId="263"/>
            <ac:spMk id="3" creationId="{F3789DFC-E464-C2E7-C0A0-FAB20C369BE7}"/>
          </ac:spMkLst>
        </pc:spChg>
        <pc:spChg chg="mod">
          <ac:chgData name="Natakala, Dak" userId="cd0822e5-8453-49cd-b7f2-0e1ddb2cf849" providerId="ADAL" clId="{7B62E480-7981-4CB4-8BDC-B43B16217FDC}" dt="2023-08-25T08:54:54.163" v="17671" actId="20577"/>
          <ac:spMkLst>
            <pc:docMk/>
            <pc:sldMk cId="1899304823" sldId="263"/>
            <ac:spMk id="5" creationId="{4F1F2508-9367-F208-DAD6-E9E46113E71A}"/>
          </ac:spMkLst>
        </pc:spChg>
        <pc:spChg chg="mod">
          <ac:chgData name="Natakala, Dak" userId="cd0822e5-8453-49cd-b7f2-0e1ddb2cf849" providerId="ADAL" clId="{7B62E480-7981-4CB4-8BDC-B43B16217FDC}" dt="2023-08-23T13:28:08.462" v="13822" actId="20577"/>
          <ac:spMkLst>
            <pc:docMk/>
            <pc:sldMk cId="1899304823" sldId="263"/>
            <ac:spMk id="6" creationId="{A6180A62-2455-59F4-D2E6-9183F2F6F5D9}"/>
          </ac:spMkLst>
        </pc:spChg>
        <pc:spChg chg="mod">
          <ac:chgData name="Natakala, Dak" userId="cd0822e5-8453-49cd-b7f2-0e1ddb2cf849" providerId="ADAL" clId="{7B62E480-7981-4CB4-8BDC-B43B16217FDC}" dt="2023-08-25T09:15:09.198" v="17836" actId="6549"/>
          <ac:spMkLst>
            <pc:docMk/>
            <pc:sldMk cId="1899304823" sldId="263"/>
            <ac:spMk id="7" creationId="{FB9DA90A-8240-0B70-8BE7-56EFD6388626}"/>
          </ac:spMkLst>
        </pc:spChg>
        <pc:spChg chg="mod">
          <ac:chgData name="Natakala, Dak" userId="cd0822e5-8453-49cd-b7f2-0e1ddb2cf849" providerId="ADAL" clId="{7B62E480-7981-4CB4-8BDC-B43B16217FDC}" dt="2023-08-21T13:33:02.342" v="3795" actId="20577"/>
          <ac:spMkLst>
            <pc:docMk/>
            <pc:sldMk cId="1899304823" sldId="263"/>
            <ac:spMk id="8" creationId="{88ACBF12-B3E2-2774-D80A-C2BC7DFF9D51}"/>
          </ac:spMkLst>
        </pc:spChg>
        <pc:spChg chg="mod">
          <ac:chgData name="Natakala, Dak" userId="cd0822e5-8453-49cd-b7f2-0e1ddb2cf849" providerId="ADAL" clId="{7B62E480-7981-4CB4-8BDC-B43B16217FDC}" dt="2023-08-21T13:33:07.999" v="3804" actId="20577"/>
          <ac:spMkLst>
            <pc:docMk/>
            <pc:sldMk cId="1899304823" sldId="263"/>
            <ac:spMk id="9" creationId="{29573292-B2EB-8EEE-9971-427875BF245A}"/>
          </ac:spMkLst>
        </pc:spChg>
        <pc:spChg chg="mod">
          <ac:chgData name="Natakala, Dak" userId="cd0822e5-8453-49cd-b7f2-0e1ddb2cf849" providerId="ADAL" clId="{7B62E480-7981-4CB4-8BDC-B43B16217FDC}" dt="2023-08-21T13:33:10.761" v="3810" actId="20577"/>
          <ac:spMkLst>
            <pc:docMk/>
            <pc:sldMk cId="1899304823" sldId="263"/>
            <ac:spMk id="10" creationId="{17BAA4B9-AADB-CAA9-127C-2FE8264D92E6}"/>
          </ac:spMkLst>
        </pc:spChg>
        <pc:spChg chg="add del mod">
          <ac:chgData name="Natakala, Dak" userId="cd0822e5-8453-49cd-b7f2-0e1ddb2cf849" providerId="ADAL" clId="{7B62E480-7981-4CB4-8BDC-B43B16217FDC}" dt="2023-08-23T13:28:24.717" v="13827" actId="478"/>
          <ac:spMkLst>
            <pc:docMk/>
            <pc:sldMk cId="1899304823" sldId="263"/>
            <ac:spMk id="12" creationId="{F4E8763A-3260-914C-D72A-403649377650}"/>
          </ac:spMkLst>
        </pc:spChg>
        <pc:grpChg chg="mod">
          <ac:chgData name="Natakala, Dak" userId="cd0822e5-8453-49cd-b7f2-0e1ddb2cf849" providerId="ADAL" clId="{7B62E480-7981-4CB4-8BDC-B43B16217FDC}" dt="2023-08-21T13:32:56.871" v="3784" actId="14100"/>
          <ac:grpSpMkLst>
            <pc:docMk/>
            <pc:sldMk cId="1899304823" sldId="263"/>
            <ac:grpSpMk id="11" creationId="{70A03171-1A9D-1FD5-5187-F8B8A5AC0D8F}"/>
          </ac:grpSpMkLst>
        </pc:grpChg>
      </pc:sldChg>
      <pc:sldChg chg="addSp delSp modSp new mod modNotesTx">
        <pc:chgData name="Natakala, Dak" userId="cd0822e5-8453-49cd-b7f2-0e1ddb2cf849" providerId="ADAL" clId="{7B62E480-7981-4CB4-8BDC-B43B16217FDC}" dt="2023-08-25T10:37:24.932" v="18545"/>
        <pc:sldMkLst>
          <pc:docMk/>
          <pc:sldMk cId="4157471631" sldId="264"/>
        </pc:sldMkLst>
        <pc:spChg chg="mod">
          <ac:chgData name="Natakala, Dak" userId="cd0822e5-8453-49cd-b7f2-0e1ddb2cf849" providerId="ADAL" clId="{7B62E480-7981-4CB4-8BDC-B43B16217FDC}" dt="2023-08-22T08:42:35.686" v="4589" actId="20577"/>
          <ac:spMkLst>
            <pc:docMk/>
            <pc:sldMk cId="4157471631" sldId="264"/>
            <ac:spMk id="2" creationId="{80B0C063-7DDD-2F5D-D7F3-2B49D02E1DD6}"/>
          </ac:spMkLst>
        </pc:spChg>
        <pc:spChg chg="add del mod">
          <ac:chgData name="Natakala, Dak" userId="cd0822e5-8453-49cd-b7f2-0e1ddb2cf849" providerId="ADAL" clId="{7B62E480-7981-4CB4-8BDC-B43B16217FDC}" dt="2023-08-23T12:55:33.274" v="11281" actId="478"/>
          <ac:spMkLst>
            <pc:docMk/>
            <pc:sldMk cId="4157471631" sldId="264"/>
            <ac:spMk id="5" creationId="{9064B4BC-6D22-0845-8234-FBC338450F21}"/>
          </ac:spMkLst>
        </pc:spChg>
        <pc:spChg chg="mod">
          <ac:chgData name="Natakala, Dak" userId="cd0822e5-8453-49cd-b7f2-0e1ddb2cf849" providerId="ADAL" clId="{7B62E480-7981-4CB4-8BDC-B43B16217FDC}" dt="2023-08-25T10:25:05.245" v="18468" actId="6549"/>
          <ac:spMkLst>
            <pc:docMk/>
            <pc:sldMk cId="4157471631" sldId="264"/>
            <ac:spMk id="7" creationId="{9BAD4FD2-48C8-6D14-C3A8-2D99AB35B393}"/>
          </ac:spMkLst>
        </pc:spChg>
        <pc:spChg chg="add mod">
          <ac:chgData name="Natakala, Dak" userId="cd0822e5-8453-49cd-b7f2-0e1ddb2cf849" providerId="ADAL" clId="{7B62E480-7981-4CB4-8BDC-B43B16217FDC}" dt="2023-08-23T13:26:52.995" v="13779" actId="20577"/>
          <ac:spMkLst>
            <pc:docMk/>
            <pc:sldMk cId="4157471631" sldId="264"/>
            <ac:spMk id="8" creationId="{A0DE806F-4335-9470-AEC2-BA94557CC6AC}"/>
          </ac:spMkLst>
        </pc:spChg>
        <pc:spChg chg="del mod">
          <ac:chgData name="Natakala, Dak" userId="cd0822e5-8453-49cd-b7f2-0e1ddb2cf849" providerId="ADAL" clId="{7B62E480-7981-4CB4-8BDC-B43B16217FDC}" dt="2023-08-22T09:15:36.532" v="4950" actId="478"/>
          <ac:spMkLst>
            <pc:docMk/>
            <pc:sldMk cId="4157471631" sldId="264"/>
            <ac:spMk id="8" creationId="{D4BBE371-23BB-4C4C-44E3-79128C4DE776}"/>
          </ac:spMkLst>
        </pc:spChg>
        <pc:spChg chg="del mod">
          <ac:chgData name="Natakala, Dak" userId="cd0822e5-8453-49cd-b7f2-0e1ddb2cf849" providerId="ADAL" clId="{7B62E480-7981-4CB4-8BDC-B43B16217FDC}" dt="2023-08-23T12:50:00.432" v="10787" actId="21"/>
          <ac:spMkLst>
            <pc:docMk/>
            <pc:sldMk cId="4157471631" sldId="264"/>
            <ac:spMk id="9" creationId="{079E2FD0-F58B-C7F4-B981-1AE71891F919}"/>
          </ac:spMkLst>
        </pc:spChg>
        <pc:spChg chg="del mod">
          <ac:chgData name="Natakala, Dak" userId="cd0822e5-8453-49cd-b7f2-0e1ddb2cf849" providerId="ADAL" clId="{7B62E480-7981-4CB4-8BDC-B43B16217FDC}" dt="2023-08-23T12:50:00.432" v="10787" actId="21"/>
          <ac:spMkLst>
            <pc:docMk/>
            <pc:sldMk cId="4157471631" sldId="264"/>
            <ac:spMk id="10" creationId="{DF6F522C-0C2D-419A-B935-E51E4AAEA590}"/>
          </ac:spMkLst>
        </pc:spChg>
        <pc:grpChg chg="mod">
          <ac:chgData name="Natakala, Dak" userId="cd0822e5-8453-49cd-b7f2-0e1ddb2cf849" providerId="ADAL" clId="{7B62E480-7981-4CB4-8BDC-B43B16217FDC}" dt="2023-08-22T09:15:42.029" v="4960" actId="14100"/>
          <ac:grpSpMkLst>
            <pc:docMk/>
            <pc:sldMk cId="4157471631" sldId="264"/>
            <ac:grpSpMk id="11" creationId="{C4A2EB5F-3262-1181-DA28-A43CC3A1F8DB}"/>
          </ac:grpSpMkLst>
        </pc:grpChg>
        <pc:picChg chg="add mod modCrop">
          <ac:chgData name="Natakala, Dak" userId="cd0822e5-8453-49cd-b7f2-0e1ddb2cf849" providerId="ADAL" clId="{7B62E480-7981-4CB4-8BDC-B43B16217FDC}" dt="2023-08-23T10:25:04.717" v="8608" actId="732"/>
          <ac:picMkLst>
            <pc:docMk/>
            <pc:sldMk cId="4157471631" sldId="264"/>
            <ac:picMk id="6" creationId="{C51A76E8-327B-8FAB-CBEC-3B5698A320C8}"/>
          </ac:picMkLst>
        </pc:picChg>
      </pc:sldChg>
      <pc:sldChg chg="addSp delSp modSp new mod addAnim delAnim modAnim modNotesTx">
        <pc:chgData name="Natakala, Dak" userId="cd0822e5-8453-49cd-b7f2-0e1ddb2cf849" providerId="ADAL" clId="{7B62E480-7981-4CB4-8BDC-B43B16217FDC}" dt="2023-08-25T10:37:18.204" v="18544"/>
        <pc:sldMkLst>
          <pc:docMk/>
          <pc:sldMk cId="1247236813" sldId="265"/>
        </pc:sldMkLst>
        <pc:spChg chg="mod">
          <ac:chgData name="Natakala, Dak" userId="cd0822e5-8453-49cd-b7f2-0e1ddb2cf849" providerId="ADAL" clId="{7B62E480-7981-4CB4-8BDC-B43B16217FDC}" dt="2023-08-22T14:41:55.076" v="6513" actId="20577"/>
          <ac:spMkLst>
            <pc:docMk/>
            <pc:sldMk cId="1247236813" sldId="265"/>
            <ac:spMk id="2" creationId="{D51C29FA-844D-3066-9728-A20E32D9F145}"/>
          </ac:spMkLst>
        </pc:spChg>
        <pc:spChg chg="mod">
          <ac:chgData name="Natakala, Dak" userId="cd0822e5-8453-49cd-b7f2-0e1ddb2cf849" providerId="ADAL" clId="{7B62E480-7981-4CB4-8BDC-B43B16217FDC}" dt="2023-08-25T09:20:46.404" v="17908" actId="20577"/>
          <ac:spMkLst>
            <pc:docMk/>
            <pc:sldMk cId="1247236813" sldId="265"/>
            <ac:spMk id="5" creationId="{97A97E32-07A0-BB84-A2DA-899378CD36A8}"/>
          </ac:spMkLst>
        </pc:spChg>
        <pc:spChg chg="del mod">
          <ac:chgData name="Natakala, Dak" userId="cd0822e5-8453-49cd-b7f2-0e1ddb2cf849" providerId="ADAL" clId="{7B62E480-7981-4CB4-8BDC-B43B16217FDC}" dt="2023-08-23T12:55:13.759" v="11272" actId="21"/>
          <ac:spMkLst>
            <pc:docMk/>
            <pc:sldMk cId="1247236813" sldId="265"/>
            <ac:spMk id="11" creationId="{A07A60A8-B825-2BC6-6689-E6A597A09EF4}"/>
          </ac:spMkLst>
        </pc:spChg>
        <pc:spChg chg="add mod">
          <ac:chgData name="Natakala, Dak" userId="cd0822e5-8453-49cd-b7f2-0e1ddb2cf849" providerId="ADAL" clId="{7B62E480-7981-4CB4-8BDC-B43B16217FDC}" dt="2023-08-23T13:26:34.371" v="13682" actId="20577"/>
          <ac:spMkLst>
            <pc:docMk/>
            <pc:sldMk cId="1247236813" sldId="265"/>
            <ac:spMk id="12" creationId="{C2F961D2-C451-F9B6-E8C8-DABFEAEEF5F4}"/>
          </ac:spMkLst>
        </pc:spChg>
        <pc:picChg chg="add del">
          <ac:chgData name="Natakala, Dak" userId="cd0822e5-8453-49cd-b7f2-0e1ddb2cf849" providerId="ADAL" clId="{7B62E480-7981-4CB4-8BDC-B43B16217FDC}" dt="2023-08-22T14:27:45.350" v="5905" actId="22"/>
          <ac:picMkLst>
            <pc:docMk/>
            <pc:sldMk cId="1247236813" sldId="265"/>
            <ac:picMk id="7" creationId="{4AD39534-26DD-6CEE-E9A0-70A4A2D51C09}"/>
          </ac:picMkLst>
        </pc:picChg>
        <pc:picChg chg="add del">
          <ac:chgData name="Natakala, Dak" userId="cd0822e5-8453-49cd-b7f2-0e1ddb2cf849" providerId="ADAL" clId="{7B62E480-7981-4CB4-8BDC-B43B16217FDC}" dt="2023-08-23T12:26:40.345" v="10267" actId="22"/>
          <ac:picMkLst>
            <pc:docMk/>
            <pc:sldMk cId="1247236813" sldId="265"/>
            <ac:picMk id="7" creationId="{ECA60944-5C5F-C062-1128-DE6ACE3985AD}"/>
          </ac:picMkLst>
        </pc:picChg>
        <pc:picChg chg="add del mod ord">
          <ac:chgData name="Natakala, Dak" userId="cd0822e5-8453-49cd-b7f2-0e1ddb2cf849" providerId="ADAL" clId="{7B62E480-7981-4CB4-8BDC-B43B16217FDC}" dt="2023-08-23T12:49:27.754" v="10783" actId="478"/>
          <ac:picMkLst>
            <pc:docMk/>
            <pc:sldMk cId="1247236813" sldId="265"/>
            <ac:picMk id="9" creationId="{88AC761A-7309-AA1B-5650-BFEA0E44A3DC}"/>
          </ac:picMkLst>
        </pc:picChg>
        <pc:picChg chg="add mod">
          <ac:chgData name="Natakala, Dak" userId="cd0822e5-8453-49cd-b7f2-0e1ddb2cf849" providerId="ADAL" clId="{7B62E480-7981-4CB4-8BDC-B43B16217FDC}" dt="2023-08-25T10:23:36.992" v="18417" actId="1038"/>
          <ac:picMkLst>
            <pc:docMk/>
            <pc:sldMk cId="1247236813" sldId="265"/>
            <ac:picMk id="10" creationId="{C40D9F37-AFD1-E29E-21F4-4A7714997C49}"/>
          </ac:picMkLst>
        </pc:picChg>
        <pc:picChg chg="add del mod">
          <ac:chgData name="Natakala, Dak" userId="cd0822e5-8453-49cd-b7f2-0e1ddb2cf849" providerId="ADAL" clId="{7B62E480-7981-4CB4-8BDC-B43B16217FDC}" dt="2023-08-22T14:33:59.890" v="6021" actId="478"/>
          <ac:picMkLst>
            <pc:docMk/>
            <pc:sldMk cId="1247236813" sldId="265"/>
            <ac:picMk id="11" creationId="{F8F03DAD-2B99-D156-84C3-75FAE941749C}"/>
          </ac:picMkLst>
        </pc:picChg>
        <pc:picChg chg="add del mod">
          <ac:chgData name="Natakala, Dak" userId="cd0822e5-8453-49cd-b7f2-0e1ddb2cf849" providerId="ADAL" clId="{7B62E480-7981-4CB4-8BDC-B43B16217FDC}" dt="2023-08-22T14:35:55.816" v="6036" actId="478"/>
          <ac:picMkLst>
            <pc:docMk/>
            <pc:sldMk cId="1247236813" sldId="265"/>
            <ac:picMk id="13" creationId="{575B1845-69F3-E4DA-443A-50EFB96595FF}"/>
          </ac:picMkLst>
        </pc:picChg>
        <pc:picChg chg="add del mod">
          <ac:chgData name="Natakala, Dak" userId="cd0822e5-8453-49cd-b7f2-0e1ddb2cf849" providerId="ADAL" clId="{7B62E480-7981-4CB4-8BDC-B43B16217FDC}" dt="2023-08-23T12:37:27.439" v="10269" actId="478"/>
          <ac:picMkLst>
            <pc:docMk/>
            <pc:sldMk cId="1247236813" sldId="265"/>
            <ac:picMk id="15" creationId="{D0DFB3AC-BB51-6A68-6E09-C8DA1691337E}"/>
          </ac:picMkLst>
        </pc:picChg>
      </pc:sldChg>
      <pc:sldChg chg="addSp delSp modSp new mod modNotesTx">
        <pc:chgData name="Natakala, Dak" userId="cd0822e5-8453-49cd-b7f2-0e1ddb2cf849" providerId="ADAL" clId="{7B62E480-7981-4CB4-8BDC-B43B16217FDC}" dt="2023-08-25T10:36:33.604" v="18538"/>
        <pc:sldMkLst>
          <pc:docMk/>
          <pc:sldMk cId="4228199073" sldId="266"/>
        </pc:sldMkLst>
        <pc:spChg chg="mod">
          <ac:chgData name="Natakala, Dak" userId="cd0822e5-8453-49cd-b7f2-0e1ddb2cf849" providerId="ADAL" clId="{7B62E480-7981-4CB4-8BDC-B43B16217FDC}" dt="2023-08-25T10:17:15.689" v="18365" actId="20577"/>
          <ac:spMkLst>
            <pc:docMk/>
            <pc:sldMk cId="4228199073" sldId="266"/>
            <ac:spMk id="2" creationId="{0739B233-770D-45D8-8268-A4B281EAF8D3}"/>
          </ac:spMkLst>
        </pc:spChg>
        <pc:spChg chg="del mod">
          <ac:chgData name="Natakala, Dak" userId="cd0822e5-8453-49cd-b7f2-0e1ddb2cf849" providerId="ADAL" clId="{7B62E480-7981-4CB4-8BDC-B43B16217FDC}" dt="2023-08-23T11:49:10.413" v="8772" actId="478"/>
          <ac:spMkLst>
            <pc:docMk/>
            <pc:sldMk cId="4228199073" sldId="266"/>
            <ac:spMk id="3" creationId="{8361A6CC-8CDB-DB10-DA18-56637231EE66}"/>
          </ac:spMkLst>
        </pc:spChg>
        <pc:spChg chg="add del mod">
          <ac:chgData name="Natakala, Dak" userId="cd0822e5-8453-49cd-b7f2-0e1ddb2cf849" providerId="ADAL" clId="{7B62E480-7981-4CB4-8BDC-B43B16217FDC}" dt="2023-08-23T11:50:23.097" v="8784" actId="478"/>
          <ac:spMkLst>
            <pc:docMk/>
            <pc:sldMk cId="4228199073" sldId="266"/>
            <ac:spMk id="6" creationId="{9183A4C1-BF9B-244D-277C-54DA0649982B}"/>
          </ac:spMkLst>
        </pc:spChg>
        <pc:spChg chg="add del mod">
          <ac:chgData name="Natakala, Dak" userId="cd0822e5-8453-49cd-b7f2-0e1ddb2cf849" providerId="ADAL" clId="{7B62E480-7981-4CB4-8BDC-B43B16217FDC}" dt="2023-08-23T11:50:33.313" v="8787" actId="478"/>
          <ac:spMkLst>
            <pc:docMk/>
            <pc:sldMk cId="4228199073" sldId="266"/>
            <ac:spMk id="7" creationId="{B2A7071B-3C90-7A4B-F3AC-ADFD0DA41786}"/>
          </ac:spMkLst>
        </pc:spChg>
        <pc:spChg chg="add mod">
          <ac:chgData name="Natakala, Dak" userId="cd0822e5-8453-49cd-b7f2-0e1ddb2cf849" providerId="ADAL" clId="{7B62E480-7981-4CB4-8BDC-B43B16217FDC}" dt="2023-08-23T13:25:06.809" v="13459" actId="403"/>
          <ac:spMkLst>
            <pc:docMk/>
            <pc:sldMk cId="4228199073" sldId="266"/>
            <ac:spMk id="8" creationId="{435ACBF2-AC6B-BEF7-AD8B-B7D807055EEF}"/>
          </ac:spMkLst>
        </pc:spChg>
        <pc:spChg chg="add mod">
          <ac:chgData name="Natakala, Dak" userId="cd0822e5-8453-49cd-b7f2-0e1ddb2cf849" providerId="ADAL" clId="{7B62E480-7981-4CB4-8BDC-B43B16217FDC}" dt="2023-08-23T11:49:20.062" v="8773"/>
          <ac:spMkLst>
            <pc:docMk/>
            <pc:sldMk cId="4228199073" sldId="266"/>
            <ac:spMk id="9" creationId="{68817808-2724-A13B-9639-65443FAFBAFA}"/>
          </ac:spMkLst>
        </pc:spChg>
        <pc:spChg chg="add del mod">
          <ac:chgData name="Natakala, Dak" userId="cd0822e5-8453-49cd-b7f2-0e1ddb2cf849" providerId="ADAL" clId="{7B62E480-7981-4CB4-8BDC-B43B16217FDC}" dt="2023-08-23T11:58:41.320" v="9155" actId="478"/>
          <ac:spMkLst>
            <pc:docMk/>
            <pc:sldMk cId="4228199073" sldId="266"/>
            <ac:spMk id="10" creationId="{7FAA04C3-5AFC-6EF8-38BD-CEF35FC9EDF4}"/>
          </ac:spMkLst>
        </pc:spChg>
        <pc:spChg chg="add mod">
          <ac:chgData name="Natakala, Dak" userId="cd0822e5-8453-49cd-b7f2-0e1ddb2cf849" providerId="ADAL" clId="{7B62E480-7981-4CB4-8BDC-B43B16217FDC}" dt="2023-08-23T12:09:51.051" v="9828" actId="403"/>
          <ac:spMkLst>
            <pc:docMk/>
            <pc:sldMk cId="4228199073" sldId="266"/>
            <ac:spMk id="11" creationId="{A252A2A8-E046-AE5B-8042-0DEFA1459F11}"/>
          </ac:spMkLst>
        </pc:spChg>
        <pc:spChg chg="add del mod">
          <ac:chgData name="Natakala, Dak" userId="cd0822e5-8453-49cd-b7f2-0e1ddb2cf849" providerId="ADAL" clId="{7B62E480-7981-4CB4-8BDC-B43B16217FDC}" dt="2023-08-23T11:58:41.320" v="9155" actId="478"/>
          <ac:spMkLst>
            <pc:docMk/>
            <pc:sldMk cId="4228199073" sldId="266"/>
            <ac:spMk id="12" creationId="{BABB083A-8946-0769-E10F-E42F146ADAAB}"/>
          </ac:spMkLst>
        </pc:spChg>
        <pc:spChg chg="add mod">
          <ac:chgData name="Natakala, Dak" userId="cd0822e5-8453-49cd-b7f2-0e1ddb2cf849" providerId="ADAL" clId="{7B62E480-7981-4CB4-8BDC-B43B16217FDC}" dt="2023-08-23T12:05:49.938" v="9707" actId="20577"/>
          <ac:spMkLst>
            <pc:docMk/>
            <pc:sldMk cId="4228199073" sldId="266"/>
            <ac:spMk id="13" creationId="{EC0FB9E8-EFFC-3462-45CC-84D0374DB06D}"/>
          </ac:spMkLst>
        </pc:spChg>
        <pc:spChg chg="add mod">
          <ac:chgData name="Natakala, Dak" userId="cd0822e5-8453-49cd-b7f2-0e1ddb2cf849" providerId="ADAL" clId="{7B62E480-7981-4CB4-8BDC-B43B16217FDC}" dt="2023-08-23T13:27:36.614" v="13801" actId="404"/>
          <ac:spMkLst>
            <pc:docMk/>
            <pc:sldMk cId="4228199073" sldId="266"/>
            <ac:spMk id="14" creationId="{25D4D764-3F7B-186E-C141-84F85FDC5A5D}"/>
          </ac:spMkLst>
        </pc:spChg>
        <pc:spChg chg="add mod">
          <ac:chgData name="Natakala, Dak" userId="cd0822e5-8453-49cd-b7f2-0e1ddb2cf849" providerId="ADAL" clId="{7B62E480-7981-4CB4-8BDC-B43B16217FDC}" dt="2023-08-23T11:50:52.260" v="8825" actId="20577"/>
          <ac:spMkLst>
            <pc:docMk/>
            <pc:sldMk cId="4228199073" sldId="266"/>
            <ac:spMk id="15" creationId="{1D87973C-B23B-6FD1-3145-BE2E6247231A}"/>
          </ac:spMkLst>
        </pc:spChg>
        <pc:spChg chg="add del mod">
          <ac:chgData name="Natakala, Dak" userId="cd0822e5-8453-49cd-b7f2-0e1ddb2cf849" providerId="ADAL" clId="{7B62E480-7981-4CB4-8BDC-B43B16217FDC}" dt="2023-08-23T11:59:37.342" v="9169" actId="21"/>
          <ac:spMkLst>
            <pc:docMk/>
            <pc:sldMk cId="4228199073" sldId="266"/>
            <ac:spMk id="16" creationId="{8E9BC8BC-DA4A-46B8-B952-192B3C14CA86}"/>
          </ac:spMkLst>
        </pc:spChg>
        <pc:spChg chg="add mod">
          <ac:chgData name="Natakala, Dak" userId="cd0822e5-8453-49cd-b7f2-0e1ddb2cf849" providerId="ADAL" clId="{7B62E480-7981-4CB4-8BDC-B43B16217FDC}" dt="2023-08-25T10:19:08.920" v="18413" actId="20577"/>
          <ac:spMkLst>
            <pc:docMk/>
            <pc:sldMk cId="4228199073" sldId="266"/>
            <ac:spMk id="17" creationId="{DF47D4E8-80A3-CF8C-CBA8-F1756E0A0DB2}"/>
          </ac:spMkLst>
        </pc:spChg>
      </pc:sldChg>
      <pc:sldChg chg="addSp delSp modSp new mod modNotesTx">
        <pc:chgData name="Natakala, Dak" userId="cd0822e5-8453-49cd-b7f2-0e1ddb2cf849" providerId="ADAL" clId="{7B62E480-7981-4CB4-8BDC-B43B16217FDC}" dt="2023-08-25T10:37:31.436" v="18546"/>
        <pc:sldMkLst>
          <pc:docMk/>
          <pc:sldMk cId="1573478242" sldId="267"/>
        </pc:sldMkLst>
        <pc:spChg chg="mod">
          <ac:chgData name="Natakala, Dak" userId="cd0822e5-8453-49cd-b7f2-0e1ddb2cf849" providerId="ADAL" clId="{7B62E480-7981-4CB4-8BDC-B43B16217FDC}" dt="2023-08-22T14:53:01.135" v="6814" actId="20577"/>
          <ac:spMkLst>
            <pc:docMk/>
            <pc:sldMk cId="1573478242" sldId="267"/>
            <ac:spMk id="2" creationId="{D85B50B0-AECF-06D0-6CCF-5911E959B186}"/>
          </ac:spMkLst>
        </pc:spChg>
        <pc:spChg chg="del mod">
          <ac:chgData name="Natakala, Dak" userId="cd0822e5-8453-49cd-b7f2-0e1ddb2cf849" providerId="ADAL" clId="{7B62E480-7981-4CB4-8BDC-B43B16217FDC}" dt="2023-08-22T14:58:00.011" v="6896"/>
          <ac:spMkLst>
            <pc:docMk/>
            <pc:sldMk cId="1573478242" sldId="267"/>
            <ac:spMk id="5" creationId="{9E74795C-9B81-CDD8-8C85-F66008D01F25}"/>
          </ac:spMkLst>
        </pc:spChg>
        <pc:spChg chg="del mod">
          <ac:chgData name="Natakala, Dak" userId="cd0822e5-8453-49cd-b7f2-0e1ddb2cf849" providerId="ADAL" clId="{7B62E480-7981-4CB4-8BDC-B43B16217FDC}" dt="2023-08-22T14:58:00.011" v="6896"/>
          <ac:spMkLst>
            <pc:docMk/>
            <pc:sldMk cId="1573478242" sldId="267"/>
            <ac:spMk id="6" creationId="{3AAB304C-AA52-F968-C67A-DCFB76F8F08B}"/>
          </ac:spMkLst>
        </pc:spChg>
        <pc:spChg chg="del mod">
          <ac:chgData name="Natakala, Dak" userId="cd0822e5-8453-49cd-b7f2-0e1ddb2cf849" providerId="ADAL" clId="{7B62E480-7981-4CB4-8BDC-B43B16217FDC}" dt="2023-08-22T14:58:00.011" v="6896"/>
          <ac:spMkLst>
            <pc:docMk/>
            <pc:sldMk cId="1573478242" sldId="267"/>
            <ac:spMk id="7" creationId="{038012AC-A3CB-79FD-4197-C9549EDA6F7D}"/>
          </ac:spMkLst>
        </pc:spChg>
        <pc:spChg chg="del mod">
          <ac:chgData name="Natakala, Dak" userId="cd0822e5-8453-49cd-b7f2-0e1ddb2cf849" providerId="ADAL" clId="{7B62E480-7981-4CB4-8BDC-B43B16217FDC}" dt="2023-08-22T14:58:00.011" v="6896"/>
          <ac:spMkLst>
            <pc:docMk/>
            <pc:sldMk cId="1573478242" sldId="267"/>
            <ac:spMk id="8" creationId="{6E513480-0F59-4E95-7C43-210BACD77F04}"/>
          </ac:spMkLst>
        </pc:spChg>
        <pc:spChg chg="del mod">
          <ac:chgData name="Natakala, Dak" userId="cd0822e5-8453-49cd-b7f2-0e1ddb2cf849" providerId="ADAL" clId="{7B62E480-7981-4CB4-8BDC-B43B16217FDC}" dt="2023-08-22T14:58:00.011" v="6896"/>
          <ac:spMkLst>
            <pc:docMk/>
            <pc:sldMk cId="1573478242" sldId="267"/>
            <ac:spMk id="9" creationId="{4B2C74D9-9ACD-F4E7-DC19-26816030CB59}"/>
          </ac:spMkLst>
        </pc:spChg>
        <pc:spChg chg="del mod">
          <ac:chgData name="Natakala, Dak" userId="cd0822e5-8453-49cd-b7f2-0e1ddb2cf849" providerId="ADAL" clId="{7B62E480-7981-4CB4-8BDC-B43B16217FDC}" dt="2023-08-22T14:58:00.011" v="6896"/>
          <ac:spMkLst>
            <pc:docMk/>
            <pc:sldMk cId="1573478242" sldId="267"/>
            <ac:spMk id="10" creationId="{CBEE9085-E5FB-EB71-D670-B651A25054A4}"/>
          </ac:spMkLst>
        </pc:spChg>
        <pc:spChg chg="del mod">
          <ac:chgData name="Natakala, Dak" userId="cd0822e5-8453-49cd-b7f2-0e1ddb2cf849" providerId="ADAL" clId="{7B62E480-7981-4CB4-8BDC-B43B16217FDC}" dt="2023-08-22T14:58:00.011" v="6896"/>
          <ac:spMkLst>
            <pc:docMk/>
            <pc:sldMk cId="1573478242" sldId="267"/>
            <ac:spMk id="11" creationId="{FEAAD37E-27B2-348E-6461-AE933FD5BB63}"/>
          </ac:spMkLst>
        </pc:spChg>
        <pc:spChg chg="del mod">
          <ac:chgData name="Natakala, Dak" userId="cd0822e5-8453-49cd-b7f2-0e1ddb2cf849" providerId="ADAL" clId="{7B62E480-7981-4CB4-8BDC-B43B16217FDC}" dt="2023-08-22T14:58:00.011" v="6896"/>
          <ac:spMkLst>
            <pc:docMk/>
            <pc:sldMk cId="1573478242" sldId="267"/>
            <ac:spMk id="12" creationId="{303B77B7-FDCE-B813-C9B5-32D4784F8BBE}"/>
          </ac:spMkLst>
        </pc:spChg>
        <pc:spChg chg="mod">
          <ac:chgData name="Natakala, Dak" userId="cd0822e5-8453-49cd-b7f2-0e1ddb2cf849" providerId="ADAL" clId="{7B62E480-7981-4CB4-8BDC-B43B16217FDC}" dt="2023-08-23T13:12:41.893" v="12739" actId="20577"/>
          <ac:spMkLst>
            <pc:docMk/>
            <pc:sldMk cId="1573478242" sldId="267"/>
            <ac:spMk id="14" creationId="{5F868D5F-739A-A8CD-D1EE-EF18CC69C981}"/>
          </ac:spMkLst>
        </pc:spChg>
        <pc:spChg chg="mod">
          <ac:chgData name="Natakala, Dak" userId="cd0822e5-8453-49cd-b7f2-0e1ddb2cf849" providerId="ADAL" clId="{7B62E480-7981-4CB4-8BDC-B43B16217FDC}" dt="2023-08-25T10:17:23.511" v="18367" actId="20577"/>
          <ac:spMkLst>
            <pc:docMk/>
            <pc:sldMk cId="1573478242" sldId="267"/>
            <ac:spMk id="15" creationId="{B17921DE-2DC5-7AB9-D98D-76AEF58F16F9}"/>
          </ac:spMkLst>
        </pc:spChg>
        <pc:spChg chg="mod">
          <ac:chgData name="Natakala, Dak" userId="cd0822e5-8453-49cd-b7f2-0e1ddb2cf849" providerId="ADAL" clId="{7B62E480-7981-4CB4-8BDC-B43B16217FDC}" dt="2023-08-25T09:37:50.780" v="18082" actId="20577"/>
          <ac:spMkLst>
            <pc:docMk/>
            <pc:sldMk cId="1573478242" sldId="267"/>
            <ac:spMk id="16" creationId="{2EA6C664-9C01-1340-C7FB-DA76990E673B}"/>
          </ac:spMkLst>
        </pc:spChg>
        <pc:spChg chg="mod">
          <ac:chgData name="Natakala, Dak" userId="cd0822e5-8453-49cd-b7f2-0e1ddb2cf849" providerId="ADAL" clId="{7B62E480-7981-4CB4-8BDC-B43B16217FDC}" dt="2023-08-22T15:03:54.206" v="7598" actId="20577"/>
          <ac:spMkLst>
            <pc:docMk/>
            <pc:sldMk cId="1573478242" sldId="267"/>
            <ac:spMk id="17" creationId="{90281618-A92D-7C46-0515-BF2C9CD1FB7E}"/>
          </ac:spMkLst>
        </pc:spChg>
        <pc:spChg chg="mod">
          <ac:chgData name="Natakala, Dak" userId="cd0822e5-8453-49cd-b7f2-0e1ddb2cf849" providerId="ADAL" clId="{7B62E480-7981-4CB4-8BDC-B43B16217FDC}" dt="2023-08-25T09:36:05.511" v="18072" actId="20577"/>
          <ac:spMkLst>
            <pc:docMk/>
            <pc:sldMk cId="1573478242" sldId="267"/>
            <ac:spMk id="18" creationId="{0ABC1A66-DAF5-8687-0127-274884C34472}"/>
          </ac:spMkLst>
        </pc:spChg>
        <pc:spChg chg="mod">
          <ac:chgData name="Natakala, Dak" userId="cd0822e5-8453-49cd-b7f2-0e1ddb2cf849" providerId="ADAL" clId="{7B62E480-7981-4CB4-8BDC-B43B16217FDC}" dt="2023-08-22T15:04:26.565" v="7686" actId="20577"/>
          <ac:spMkLst>
            <pc:docMk/>
            <pc:sldMk cId="1573478242" sldId="267"/>
            <ac:spMk id="19" creationId="{980D3117-4FB1-A4BF-5670-CB7FD267B5F1}"/>
          </ac:spMkLst>
        </pc:spChg>
        <pc:grpChg chg="add mod">
          <ac:chgData name="Natakala, Dak" userId="cd0822e5-8453-49cd-b7f2-0e1ddb2cf849" providerId="ADAL" clId="{7B62E480-7981-4CB4-8BDC-B43B16217FDC}" dt="2023-08-22T14:58:00.011" v="6896"/>
          <ac:grpSpMkLst>
            <pc:docMk/>
            <pc:sldMk cId="1573478242" sldId="267"/>
            <ac:grpSpMk id="13" creationId="{F514A98D-E893-32A0-B9A5-17C1C3FCD96A}"/>
          </ac:grpSpMkLst>
        </pc:grpChg>
        <pc:grpChg chg="mod">
          <ac:chgData name="Natakala, Dak" userId="cd0822e5-8453-49cd-b7f2-0e1ddb2cf849" providerId="ADAL" clId="{7B62E480-7981-4CB4-8BDC-B43B16217FDC}" dt="2023-08-22T14:58:12.188" v="6918" actId="14100"/>
          <ac:grpSpMkLst>
            <pc:docMk/>
            <pc:sldMk cId="1573478242" sldId="267"/>
            <ac:grpSpMk id="20" creationId="{5FDFDF52-B775-EC45-643C-D713EBE2C5B3}"/>
          </ac:grpSpMkLst>
        </pc:grpChg>
      </pc:sldChg>
      <pc:sldChg chg="addSp delSp modSp new del mod ord">
        <pc:chgData name="Natakala, Dak" userId="cd0822e5-8453-49cd-b7f2-0e1ddb2cf849" providerId="ADAL" clId="{7B62E480-7981-4CB4-8BDC-B43B16217FDC}" dt="2023-08-24T16:12:20.799" v="16769" actId="2696"/>
        <pc:sldMkLst>
          <pc:docMk/>
          <pc:sldMk cId="2433796766" sldId="268"/>
        </pc:sldMkLst>
        <pc:spChg chg="mod">
          <ac:chgData name="Natakala, Dak" userId="cd0822e5-8453-49cd-b7f2-0e1ddb2cf849" providerId="ADAL" clId="{7B62E480-7981-4CB4-8BDC-B43B16217FDC}" dt="2023-08-23T09:47:28.323" v="7937" actId="20577"/>
          <ac:spMkLst>
            <pc:docMk/>
            <pc:sldMk cId="2433796766" sldId="268"/>
            <ac:spMk id="2" creationId="{6A4EDBA7-8026-422F-6B2C-5EE08FDA82FB}"/>
          </ac:spMkLst>
        </pc:spChg>
        <pc:spChg chg="del">
          <ac:chgData name="Natakala, Dak" userId="cd0822e5-8453-49cd-b7f2-0e1ddb2cf849" providerId="ADAL" clId="{7B62E480-7981-4CB4-8BDC-B43B16217FDC}" dt="2023-08-23T13:14:42.089" v="12919" actId="478"/>
          <ac:spMkLst>
            <pc:docMk/>
            <pc:sldMk cId="2433796766" sldId="268"/>
            <ac:spMk id="3" creationId="{CB120617-DE00-7182-658B-407801D7E79A}"/>
          </ac:spMkLst>
        </pc:spChg>
        <pc:spChg chg="del mod">
          <ac:chgData name="Natakala, Dak" userId="cd0822e5-8453-49cd-b7f2-0e1ddb2cf849" providerId="ADAL" clId="{7B62E480-7981-4CB4-8BDC-B43B16217FDC}" dt="2023-08-23T09:42:11.591" v="7770"/>
          <ac:spMkLst>
            <pc:docMk/>
            <pc:sldMk cId="2433796766" sldId="268"/>
            <ac:spMk id="5" creationId="{4637A32F-C9A6-2E7A-AE92-A31503280596}"/>
          </ac:spMkLst>
        </pc:spChg>
        <pc:spChg chg="del mod">
          <ac:chgData name="Natakala, Dak" userId="cd0822e5-8453-49cd-b7f2-0e1ddb2cf849" providerId="ADAL" clId="{7B62E480-7981-4CB4-8BDC-B43B16217FDC}" dt="2023-08-23T09:42:11.591" v="7770"/>
          <ac:spMkLst>
            <pc:docMk/>
            <pc:sldMk cId="2433796766" sldId="268"/>
            <ac:spMk id="6" creationId="{D71788C1-D6E3-B822-B609-911F77E33260}"/>
          </ac:spMkLst>
        </pc:spChg>
        <pc:spChg chg="del mod">
          <ac:chgData name="Natakala, Dak" userId="cd0822e5-8453-49cd-b7f2-0e1ddb2cf849" providerId="ADAL" clId="{7B62E480-7981-4CB4-8BDC-B43B16217FDC}" dt="2023-08-23T09:42:11.591" v="7770"/>
          <ac:spMkLst>
            <pc:docMk/>
            <pc:sldMk cId="2433796766" sldId="268"/>
            <ac:spMk id="7" creationId="{3BF5FA15-D9FB-86B4-3A93-4BF4F70F4C6D}"/>
          </ac:spMkLst>
        </pc:spChg>
        <pc:spChg chg="del mod">
          <ac:chgData name="Natakala, Dak" userId="cd0822e5-8453-49cd-b7f2-0e1ddb2cf849" providerId="ADAL" clId="{7B62E480-7981-4CB4-8BDC-B43B16217FDC}" dt="2023-08-23T09:42:25.511" v="7798"/>
          <ac:spMkLst>
            <pc:docMk/>
            <pc:sldMk cId="2433796766" sldId="268"/>
            <ac:spMk id="9" creationId="{0E11458E-79E5-FEBD-4B35-E615E7C0CA69}"/>
          </ac:spMkLst>
        </pc:spChg>
        <pc:spChg chg="del mod">
          <ac:chgData name="Natakala, Dak" userId="cd0822e5-8453-49cd-b7f2-0e1ddb2cf849" providerId="ADAL" clId="{7B62E480-7981-4CB4-8BDC-B43B16217FDC}" dt="2023-08-23T09:43:09.319" v="7875" actId="478"/>
          <ac:spMkLst>
            <pc:docMk/>
            <pc:sldMk cId="2433796766" sldId="268"/>
            <ac:spMk id="10" creationId="{8836B582-7CF8-D157-0234-6F56C4405048}"/>
          </ac:spMkLst>
        </pc:spChg>
        <pc:spChg chg="del mod">
          <ac:chgData name="Natakala, Dak" userId="cd0822e5-8453-49cd-b7f2-0e1ddb2cf849" providerId="ADAL" clId="{7B62E480-7981-4CB4-8BDC-B43B16217FDC}" dt="2023-08-23T09:43:14.171" v="7877" actId="478"/>
          <ac:spMkLst>
            <pc:docMk/>
            <pc:sldMk cId="2433796766" sldId="268"/>
            <ac:spMk id="11" creationId="{8CC10CA6-D70F-DACA-84A6-EA570782D5C0}"/>
          </ac:spMkLst>
        </pc:spChg>
        <pc:spChg chg="del mod">
          <ac:chgData name="Natakala, Dak" userId="cd0822e5-8453-49cd-b7f2-0e1ddb2cf849" providerId="ADAL" clId="{7B62E480-7981-4CB4-8BDC-B43B16217FDC}" dt="2023-08-23T09:43:11.926" v="7876" actId="478"/>
          <ac:spMkLst>
            <pc:docMk/>
            <pc:sldMk cId="2433796766" sldId="268"/>
            <ac:spMk id="12" creationId="{A38899B1-1FF5-14F9-3762-6195E2755DD7}"/>
          </ac:spMkLst>
        </pc:spChg>
        <pc:spChg chg="mod">
          <ac:chgData name="Natakala, Dak" userId="cd0822e5-8453-49cd-b7f2-0e1ddb2cf849" providerId="ADAL" clId="{7B62E480-7981-4CB4-8BDC-B43B16217FDC}" dt="2023-08-23T09:47:22.598" v="7928" actId="403"/>
          <ac:spMkLst>
            <pc:docMk/>
            <pc:sldMk cId="2433796766" sldId="268"/>
            <ac:spMk id="15" creationId="{8F2E2168-68FC-D84D-4EE1-2C72A873C29B}"/>
          </ac:spMkLst>
        </pc:spChg>
        <pc:spChg chg="mod">
          <ac:chgData name="Natakala, Dak" userId="cd0822e5-8453-49cd-b7f2-0e1ddb2cf849" providerId="ADAL" clId="{7B62E480-7981-4CB4-8BDC-B43B16217FDC}" dt="2023-08-23T09:43:35.787" v="7892" actId="255"/>
          <ac:spMkLst>
            <pc:docMk/>
            <pc:sldMk cId="2433796766" sldId="268"/>
            <ac:spMk id="18" creationId="{AA3AC745-6B0D-EE2A-32E9-6500F0EAFE15}"/>
          </ac:spMkLst>
        </pc:spChg>
        <pc:spChg chg="mod">
          <ac:chgData name="Natakala, Dak" userId="cd0822e5-8453-49cd-b7f2-0e1ddb2cf849" providerId="ADAL" clId="{7B62E480-7981-4CB4-8BDC-B43B16217FDC}" dt="2023-08-23T09:43:18.045" v="7878" actId="14100"/>
          <ac:spMkLst>
            <pc:docMk/>
            <pc:sldMk cId="2433796766" sldId="268"/>
            <ac:spMk id="21" creationId="{2D7A2AA9-2A30-F6C6-0ECD-3EA76040D692}"/>
          </ac:spMkLst>
        </pc:spChg>
        <pc:grpChg chg="add mod">
          <ac:chgData name="Natakala, Dak" userId="cd0822e5-8453-49cd-b7f2-0e1ddb2cf849" providerId="ADAL" clId="{7B62E480-7981-4CB4-8BDC-B43B16217FDC}" dt="2023-08-23T09:42:11.591" v="7770"/>
          <ac:grpSpMkLst>
            <pc:docMk/>
            <pc:sldMk cId="2433796766" sldId="268"/>
            <ac:grpSpMk id="8" creationId="{6F4875C6-C70B-3522-9561-C3447EFBEEDC}"/>
          </ac:grpSpMkLst>
        </pc:grpChg>
        <pc:grpChg chg="mod">
          <ac:chgData name="Natakala, Dak" userId="cd0822e5-8453-49cd-b7f2-0e1ddb2cf849" providerId="ADAL" clId="{7B62E480-7981-4CB4-8BDC-B43B16217FDC}" dt="2023-08-23T09:42:40.049" v="7823" actId="14100"/>
          <ac:grpSpMkLst>
            <pc:docMk/>
            <pc:sldMk cId="2433796766" sldId="268"/>
            <ac:grpSpMk id="22" creationId="{F40B2735-43D4-F201-87A4-F943D7FBFAAA}"/>
          </ac:grpSpMkLst>
        </pc:grpChg>
      </pc:sldChg>
      <pc:sldChg chg="addSp delSp modSp new mod modNotesTx">
        <pc:chgData name="Natakala, Dak" userId="cd0822e5-8453-49cd-b7f2-0e1ddb2cf849" providerId="ADAL" clId="{7B62E480-7981-4CB4-8BDC-B43B16217FDC}" dt="2023-08-25T10:36:40.193" v="18539"/>
        <pc:sldMkLst>
          <pc:docMk/>
          <pc:sldMk cId="1173919516" sldId="269"/>
        </pc:sldMkLst>
        <pc:spChg chg="mod">
          <ac:chgData name="Natakala, Dak" userId="cd0822e5-8453-49cd-b7f2-0e1ddb2cf849" providerId="ADAL" clId="{7B62E480-7981-4CB4-8BDC-B43B16217FDC}" dt="2023-08-23T12:14:26.557" v="9949" actId="20577"/>
          <ac:spMkLst>
            <pc:docMk/>
            <pc:sldMk cId="1173919516" sldId="269"/>
            <ac:spMk id="2" creationId="{F14D7616-E598-63D9-06E2-1413BB4276EF}"/>
          </ac:spMkLst>
        </pc:spChg>
        <pc:spChg chg="del">
          <ac:chgData name="Natakala, Dak" userId="cd0822e5-8453-49cd-b7f2-0e1ddb2cf849" providerId="ADAL" clId="{7B62E480-7981-4CB4-8BDC-B43B16217FDC}" dt="2023-08-23T12:14:45.403" v="9961" actId="478"/>
          <ac:spMkLst>
            <pc:docMk/>
            <pc:sldMk cId="1173919516" sldId="269"/>
            <ac:spMk id="3" creationId="{9806E18F-1E48-F9B4-22E8-9FB664F1FE25}"/>
          </ac:spMkLst>
        </pc:spChg>
        <pc:spChg chg="mod">
          <ac:chgData name="Natakala, Dak" userId="cd0822e5-8453-49cd-b7f2-0e1ddb2cf849" providerId="ADAL" clId="{7B62E480-7981-4CB4-8BDC-B43B16217FDC}" dt="2023-08-25T08:49:05.299" v="16806" actId="20577"/>
          <ac:spMkLst>
            <pc:docMk/>
            <pc:sldMk cId="1173919516" sldId="269"/>
            <ac:spMk id="7" creationId="{C3999BF5-33A3-BACA-7E42-61DE35A74078}"/>
          </ac:spMkLst>
        </pc:spChg>
        <pc:spChg chg="add mod">
          <ac:chgData name="Natakala, Dak" userId="cd0822e5-8453-49cd-b7f2-0e1ddb2cf849" providerId="ADAL" clId="{7B62E480-7981-4CB4-8BDC-B43B16217FDC}" dt="2023-08-23T12:52:06.796" v="10945" actId="20577"/>
          <ac:spMkLst>
            <pc:docMk/>
            <pc:sldMk cId="1173919516" sldId="269"/>
            <ac:spMk id="8" creationId="{27DDCB24-6CC5-BC80-B7AC-A936E1E75B0C}"/>
          </ac:spMkLst>
        </pc:spChg>
        <pc:picChg chg="add mod">
          <ac:chgData name="Natakala, Dak" userId="cd0822e5-8453-49cd-b7f2-0e1ddb2cf849" providerId="ADAL" clId="{7B62E480-7981-4CB4-8BDC-B43B16217FDC}" dt="2023-08-23T12:23:55.836" v="10250" actId="14100"/>
          <ac:picMkLst>
            <pc:docMk/>
            <pc:sldMk cId="1173919516" sldId="269"/>
            <ac:picMk id="6" creationId="{73B44926-A86B-C024-D3F9-C8B6EEF5D7BB}"/>
          </ac:picMkLst>
        </pc:picChg>
      </pc:sldChg>
      <pc:sldChg chg="addSp delSp modSp add mod ord modAnim modNotesTx">
        <pc:chgData name="Natakala, Dak" userId="cd0822e5-8453-49cd-b7f2-0e1ddb2cf849" providerId="ADAL" clId="{7B62E480-7981-4CB4-8BDC-B43B16217FDC}" dt="2023-08-25T10:37:11.097" v="18543"/>
        <pc:sldMkLst>
          <pc:docMk/>
          <pc:sldMk cId="246836175" sldId="270"/>
        </pc:sldMkLst>
        <pc:spChg chg="mod">
          <ac:chgData name="Natakala, Dak" userId="cd0822e5-8453-49cd-b7f2-0e1ddb2cf849" providerId="ADAL" clId="{7B62E480-7981-4CB4-8BDC-B43B16217FDC}" dt="2023-08-23T12:47:30.769" v="10474" actId="20577"/>
          <ac:spMkLst>
            <pc:docMk/>
            <pc:sldMk cId="246836175" sldId="270"/>
            <ac:spMk id="2" creationId="{D51C29FA-844D-3066-9728-A20E32D9F145}"/>
          </ac:spMkLst>
        </pc:spChg>
        <pc:spChg chg="del mod">
          <ac:chgData name="Natakala, Dak" userId="cd0822e5-8453-49cd-b7f2-0e1ddb2cf849" providerId="ADAL" clId="{7B62E480-7981-4CB4-8BDC-B43B16217FDC}" dt="2023-08-23T12:51:12.318" v="10885" actId="21"/>
          <ac:spMkLst>
            <pc:docMk/>
            <pc:sldMk cId="246836175" sldId="270"/>
            <ac:spMk id="3" creationId="{18877FB0-D587-DEDC-6DB9-566E61EBDA26}"/>
          </ac:spMkLst>
        </pc:spChg>
        <pc:spChg chg="mod">
          <ac:chgData name="Natakala, Dak" userId="cd0822e5-8453-49cd-b7f2-0e1ddb2cf849" providerId="ADAL" clId="{7B62E480-7981-4CB4-8BDC-B43B16217FDC}" dt="2023-08-25T09:23:29.296" v="17942" actId="20577"/>
          <ac:spMkLst>
            <pc:docMk/>
            <pc:sldMk cId="246836175" sldId="270"/>
            <ac:spMk id="5" creationId="{97A97E32-07A0-BB84-A2DA-899378CD36A8}"/>
          </ac:spMkLst>
        </pc:spChg>
        <pc:spChg chg="add mod">
          <ac:chgData name="Natakala, Dak" userId="cd0822e5-8453-49cd-b7f2-0e1ddb2cf849" providerId="ADAL" clId="{7B62E480-7981-4CB4-8BDC-B43B16217FDC}" dt="2023-08-23T12:51:12.318" v="10885" actId="21"/>
          <ac:spMkLst>
            <pc:docMk/>
            <pc:sldMk cId="246836175" sldId="270"/>
            <ac:spMk id="7" creationId="{94B3C486-684A-C7A2-0166-BA01CFC7353F}"/>
          </ac:spMkLst>
        </pc:spChg>
        <pc:spChg chg="add mod">
          <ac:chgData name="Natakala, Dak" userId="cd0822e5-8453-49cd-b7f2-0e1ddb2cf849" providerId="ADAL" clId="{7B62E480-7981-4CB4-8BDC-B43B16217FDC}" dt="2023-08-23T13:25:34.204" v="13514" actId="20577"/>
          <ac:spMkLst>
            <pc:docMk/>
            <pc:sldMk cId="246836175" sldId="270"/>
            <ac:spMk id="8" creationId="{276404B6-2CB2-542A-7644-33A42843B036}"/>
          </ac:spMkLst>
        </pc:spChg>
        <pc:picChg chg="mod">
          <ac:chgData name="Natakala, Dak" userId="cd0822e5-8453-49cd-b7f2-0e1ddb2cf849" providerId="ADAL" clId="{7B62E480-7981-4CB4-8BDC-B43B16217FDC}" dt="2023-08-23T12:47:37.017" v="10477" actId="14100"/>
          <ac:picMkLst>
            <pc:docMk/>
            <pc:sldMk cId="246836175" sldId="270"/>
            <ac:picMk id="9" creationId="{88AC761A-7309-AA1B-5650-BFEA0E44A3DC}"/>
          </ac:picMkLst>
        </pc:picChg>
        <pc:picChg chg="del">
          <ac:chgData name="Natakala, Dak" userId="cd0822e5-8453-49cd-b7f2-0e1ddb2cf849" providerId="ADAL" clId="{7B62E480-7981-4CB4-8BDC-B43B16217FDC}" dt="2023-08-23T12:47:32.331" v="10475" actId="478"/>
          <ac:picMkLst>
            <pc:docMk/>
            <pc:sldMk cId="246836175" sldId="270"/>
            <ac:picMk id="10" creationId="{C40D9F37-AFD1-E29E-21F4-4A7714997C49}"/>
          </ac:picMkLst>
        </pc:picChg>
      </pc:sldChg>
      <pc:sldChg chg="addSp delSp modSp new del mod modAnim">
        <pc:chgData name="Natakala, Dak" userId="cd0822e5-8453-49cd-b7f2-0e1ddb2cf849" providerId="ADAL" clId="{7B62E480-7981-4CB4-8BDC-B43B16217FDC}" dt="2023-08-23T12:24:30.950" v="10261" actId="680"/>
        <pc:sldMkLst>
          <pc:docMk/>
          <pc:sldMk cId="2111252595" sldId="270"/>
        </pc:sldMkLst>
        <pc:spChg chg="add del mod">
          <ac:chgData name="Natakala, Dak" userId="cd0822e5-8453-49cd-b7f2-0e1ddb2cf849" providerId="ADAL" clId="{7B62E480-7981-4CB4-8BDC-B43B16217FDC}" dt="2023-08-23T12:24:27.505" v="10259"/>
          <ac:spMkLst>
            <pc:docMk/>
            <pc:sldMk cId="2111252595" sldId="270"/>
            <ac:spMk id="6" creationId="{59BE2FD1-3527-3EEA-6251-654C6A794727}"/>
          </ac:spMkLst>
        </pc:spChg>
        <pc:picChg chg="add del mod">
          <ac:chgData name="Natakala, Dak" userId="cd0822e5-8453-49cd-b7f2-0e1ddb2cf849" providerId="ADAL" clId="{7B62E480-7981-4CB4-8BDC-B43B16217FDC}" dt="2023-08-23T12:24:30.475" v="10260"/>
          <ac:picMkLst>
            <pc:docMk/>
            <pc:sldMk cId="2111252595" sldId="270"/>
            <ac:picMk id="5" creationId="{6385A878-28B9-CFED-5874-DCA6286F23C0}"/>
          </ac:picMkLst>
        </pc:picChg>
      </pc:sldChg>
      <pc:sldChg chg="addSp delSp modSp add mod ord">
        <pc:chgData name="Natakala, Dak" userId="cd0822e5-8453-49cd-b7f2-0e1ddb2cf849" providerId="ADAL" clId="{7B62E480-7981-4CB4-8BDC-B43B16217FDC}" dt="2023-08-23T13:28:39.425" v="13831"/>
        <pc:sldMkLst>
          <pc:docMk/>
          <pc:sldMk cId="2199365324" sldId="271"/>
        </pc:sldMkLst>
        <pc:spChg chg="add del mod">
          <ac:chgData name="Natakala, Dak" userId="cd0822e5-8453-49cd-b7f2-0e1ddb2cf849" providerId="ADAL" clId="{7B62E480-7981-4CB4-8BDC-B43B16217FDC}" dt="2023-08-23T13:02:51.031" v="11358" actId="478"/>
          <ac:spMkLst>
            <pc:docMk/>
            <pc:sldMk cId="2199365324" sldId="271"/>
            <ac:spMk id="5" creationId="{DC255FC2-1D2E-8803-B8AB-F8D6F029BAE8}"/>
          </ac:spMkLst>
        </pc:spChg>
        <pc:spChg chg="mod">
          <ac:chgData name="Natakala, Dak" userId="cd0822e5-8453-49cd-b7f2-0e1ddb2cf849" providerId="ADAL" clId="{7B62E480-7981-4CB4-8BDC-B43B16217FDC}" dt="2023-08-23T13:02:08.948" v="11355" actId="20577"/>
          <ac:spMkLst>
            <pc:docMk/>
            <pc:sldMk cId="2199365324" sldId="271"/>
            <ac:spMk id="8" creationId="{F294E75A-EAD3-03ED-8A51-B67E5EF1A187}"/>
          </ac:spMkLst>
        </pc:spChg>
        <pc:spChg chg="del">
          <ac:chgData name="Natakala, Dak" userId="cd0822e5-8453-49cd-b7f2-0e1ddb2cf849" providerId="ADAL" clId="{7B62E480-7981-4CB4-8BDC-B43B16217FDC}" dt="2023-08-23T13:02:49.547" v="11357" actId="478"/>
          <ac:spMkLst>
            <pc:docMk/>
            <pc:sldMk cId="2199365324" sldId="271"/>
            <ac:spMk id="9" creationId="{32B98024-D8F9-4CA4-FBBF-08476BA74738}"/>
          </ac:spMkLst>
        </pc:spChg>
        <pc:spChg chg="mod">
          <ac:chgData name="Natakala, Dak" userId="cd0822e5-8453-49cd-b7f2-0e1ddb2cf849" providerId="ADAL" clId="{7B62E480-7981-4CB4-8BDC-B43B16217FDC}" dt="2023-08-23T13:03:38.820" v="11448" actId="20577"/>
          <ac:spMkLst>
            <pc:docMk/>
            <pc:sldMk cId="2199365324" sldId="271"/>
            <ac:spMk id="10" creationId="{9BE3F301-08DC-D51F-504F-CEF7C81D1A1C}"/>
          </ac:spMkLst>
        </pc:spChg>
        <pc:inkChg chg="add mod">
          <ac:chgData name="Natakala, Dak" userId="cd0822e5-8453-49cd-b7f2-0e1ddb2cf849" providerId="ADAL" clId="{7B62E480-7981-4CB4-8BDC-B43B16217FDC}" dt="2023-08-23T13:02:55.001" v="11359" actId="1076"/>
          <ac:inkMkLst>
            <pc:docMk/>
            <pc:sldMk cId="2199365324" sldId="271"/>
            <ac:inkMk id="3" creationId="{D2402A98-09A6-F79D-2C1E-3C96D8641339}"/>
          </ac:inkMkLst>
        </pc:inkChg>
        <pc:inkChg chg="add mod">
          <ac:chgData name="Natakala, Dak" userId="cd0822e5-8453-49cd-b7f2-0e1ddb2cf849" providerId="ADAL" clId="{7B62E480-7981-4CB4-8BDC-B43B16217FDC}" dt="2023-08-23T13:03:13.146" v="11361" actId="1076"/>
          <ac:inkMkLst>
            <pc:docMk/>
            <pc:sldMk cId="2199365324" sldId="271"/>
            <ac:inkMk id="6" creationId="{98C1F1D9-EE27-2F9B-205F-82172725207A}"/>
          </ac:inkMkLst>
        </pc:inkChg>
      </pc:sldChg>
      <pc:sldChg chg="addSp delSp modSp new mod modNotesTx">
        <pc:chgData name="Natakala, Dak" userId="cd0822e5-8453-49cd-b7f2-0e1ddb2cf849" providerId="ADAL" clId="{7B62E480-7981-4CB4-8BDC-B43B16217FDC}" dt="2023-08-25T10:45:05.203" v="18560" actId="20577"/>
        <pc:sldMkLst>
          <pc:docMk/>
          <pc:sldMk cId="278510821" sldId="272"/>
        </pc:sldMkLst>
        <pc:spChg chg="mod">
          <ac:chgData name="Natakala, Dak" userId="cd0822e5-8453-49cd-b7f2-0e1ddb2cf849" providerId="ADAL" clId="{7B62E480-7981-4CB4-8BDC-B43B16217FDC}" dt="2023-08-24T11:47:33.257" v="15134" actId="403"/>
          <ac:spMkLst>
            <pc:docMk/>
            <pc:sldMk cId="278510821" sldId="272"/>
            <ac:spMk id="2" creationId="{D60EFDB7-354B-237F-806F-98A1A33172B4}"/>
          </ac:spMkLst>
        </pc:spChg>
        <pc:spChg chg="del">
          <ac:chgData name="Natakala, Dak" userId="cd0822e5-8453-49cd-b7f2-0e1ddb2cf849" providerId="ADAL" clId="{7B62E480-7981-4CB4-8BDC-B43B16217FDC}" dt="2023-08-23T13:04:26.459" v="11538" actId="478"/>
          <ac:spMkLst>
            <pc:docMk/>
            <pc:sldMk cId="278510821" sldId="272"/>
            <ac:spMk id="2" creationId="{F0A0F8A9-9954-F7CF-9CD4-3676972F6406}"/>
          </ac:spMkLst>
        </pc:spChg>
        <pc:spChg chg="mod">
          <ac:chgData name="Natakala, Dak" userId="cd0822e5-8453-49cd-b7f2-0e1ddb2cf849" providerId="ADAL" clId="{7B62E480-7981-4CB4-8BDC-B43B16217FDC}" dt="2023-08-24T11:38:47.179" v="14680" actId="20577"/>
          <ac:spMkLst>
            <pc:docMk/>
            <pc:sldMk cId="278510821" sldId="272"/>
            <ac:spMk id="3" creationId="{C248F99F-6A9F-8E83-732B-F8E1223D9476}"/>
          </ac:spMkLst>
        </pc:spChg>
        <pc:spChg chg="del">
          <ac:chgData name="Natakala, Dak" userId="cd0822e5-8453-49cd-b7f2-0e1ddb2cf849" providerId="ADAL" clId="{7B62E480-7981-4CB4-8BDC-B43B16217FDC}" dt="2023-08-23T13:04:28.205" v="11539" actId="478"/>
          <ac:spMkLst>
            <pc:docMk/>
            <pc:sldMk cId="278510821" sldId="272"/>
            <ac:spMk id="4" creationId="{45C9DC7A-D1FF-9AA9-756E-68167C76FE89}"/>
          </ac:spMkLst>
        </pc:spChg>
        <pc:spChg chg="mod">
          <ac:chgData name="Natakala, Dak" userId="cd0822e5-8453-49cd-b7f2-0e1ddb2cf849" providerId="ADAL" clId="{7B62E480-7981-4CB4-8BDC-B43B16217FDC}" dt="2023-08-24T11:41:00.558" v="14929" actId="164"/>
          <ac:spMkLst>
            <pc:docMk/>
            <pc:sldMk cId="278510821" sldId="272"/>
            <ac:spMk id="4" creationId="{A213C21C-B016-4C21-AF93-0FFA0FB22140}"/>
          </ac:spMkLst>
        </pc:spChg>
        <pc:spChg chg="del mod">
          <ac:chgData name="Natakala, Dak" userId="cd0822e5-8453-49cd-b7f2-0e1ddb2cf849" providerId="ADAL" clId="{7B62E480-7981-4CB4-8BDC-B43B16217FDC}" dt="2023-08-23T13:05:35.460" v="11731" actId="478"/>
          <ac:spMkLst>
            <pc:docMk/>
            <pc:sldMk cId="278510821" sldId="272"/>
            <ac:spMk id="6" creationId="{4454C499-FC4D-82A1-A6D9-CDB51851E742}"/>
          </ac:spMkLst>
        </pc:spChg>
        <pc:spChg chg="del">
          <ac:chgData name="Natakala, Dak" userId="cd0822e5-8453-49cd-b7f2-0e1ddb2cf849" providerId="ADAL" clId="{7B62E480-7981-4CB4-8BDC-B43B16217FDC}" dt="2023-08-24T11:39:40.968" v="14698" actId="478"/>
          <ac:spMkLst>
            <pc:docMk/>
            <pc:sldMk cId="278510821" sldId="272"/>
            <ac:spMk id="7" creationId="{C7518C70-2C1B-AC95-8401-5B7225C0A71B}"/>
          </ac:spMkLst>
        </pc:spChg>
        <pc:spChg chg="del">
          <ac:chgData name="Natakala, Dak" userId="cd0822e5-8453-49cd-b7f2-0e1ddb2cf849" providerId="ADAL" clId="{7B62E480-7981-4CB4-8BDC-B43B16217FDC}" dt="2023-08-24T11:39:44.111" v="14700" actId="478"/>
          <ac:spMkLst>
            <pc:docMk/>
            <pc:sldMk cId="278510821" sldId="272"/>
            <ac:spMk id="8" creationId="{1B001DAA-099F-7503-2E57-2DDD5CBD17B1}"/>
          </ac:spMkLst>
        </pc:spChg>
        <pc:spChg chg="del mod">
          <ac:chgData name="Natakala, Dak" userId="cd0822e5-8453-49cd-b7f2-0e1ddb2cf849" providerId="ADAL" clId="{7B62E480-7981-4CB4-8BDC-B43B16217FDC}" dt="2023-08-24T11:39:42.842" v="14699" actId="478"/>
          <ac:spMkLst>
            <pc:docMk/>
            <pc:sldMk cId="278510821" sldId="272"/>
            <ac:spMk id="9" creationId="{8265FFB5-2BED-876C-D94B-5B8E91B611D3}"/>
          </ac:spMkLst>
        </pc:spChg>
        <pc:spChg chg="add del mod">
          <ac:chgData name="Natakala, Dak" userId="cd0822e5-8453-49cd-b7f2-0e1ddb2cf849" providerId="ADAL" clId="{7B62E480-7981-4CB4-8BDC-B43B16217FDC}" dt="2023-08-24T11:39:39.867" v="14697" actId="478"/>
          <ac:spMkLst>
            <pc:docMk/>
            <pc:sldMk cId="278510821" sldId="272"/>
            <ac:spMk id="10" creationId="{64394A9B-EBCA-064C-1F28-1E350962B0BF}"/>
          </ac:spMkLst>
        </pc:spChg>
        <pc:spChg chg="add del mod">
          <ac:chgData name="Natakala, Dak" userId="cd0822e5-8453-49cd-b7f2-0e1ddb2cf849" providerId="ADAL" clId="{7B62E480-7981-4CB4-8BDC-B43B16217FDC}" dt="2023-08-24T11:39:38.744" v="14696" actId="478"/>
          <ac:spMkLst>
            <pc:docMk/>
            <pc:sldMk cId="278510821" sldId="272"/>
            <ac:spMk id="11" creationId="{A310822F-B07E-015F-EE7E-203D43F6302D}"/>
          </ac:spMkLst>
        </pc:spChg>
        <pc:spChg chg="add mod">
          <ac:chgData name="Natakala, Dak" userId="cd0822e5-8453-49cd-b7f2-0e1ddb2cf849" providerId="ADAL" clId="{7B62E480-7981-4CB4-8BDC-B43B16217FDC}" dt="2023-08-24T15:18:06.253" v="16140" actId="20577"/>
          <ac:spMkLst>
            <pc:docMk/>
            <pc:sldMk cId="278510821" sldId="272"/>
            <ac:spMk id="14" creationId="{D470FD75-1319-25C0-F72A-455FDADA42D8}"/>
          </ac:spMkLst>
        </pc:spChg>
        <pc:grpChg chg="mod">
          <ac:chgData name="Natakala, Dak" userId="cd0822e5-8453-49cd-b7f2-0e1ddb2cf849" providerId="ADAL" clId="{7B62E480-7981-4CB4-8BDC-B43B16217FDC}" dt="2023-08-24T11:39:53.156" v="14710" actId="14100"/>
          <ac:grpSpMkLst>
            <pc:docMk/>
            <pc:sldMk cId="278510821" sldId="272"/>
            <ac:grpSpMk id="6" creationId="{04946281-C423-9319-F54B-BA0A4AF92337}"/>
          </ac:grpSpMkLst>
        </pc:grpChg>
        <pc:grpChg chg="mod">
          <ac:chgData name="Natakala, Dak" userId="cd0822e5-8453-49cd-b7f2-0e1ddb2cf849" providerId="ADAL" clId="{7B62E480-7981-4CB4-8BDC-B43B16217FDC}" dt="2023-08-23T13:05:55.957" v="11744" actId="14100"/>
          <ac:grpSpMkLst>
            <pc:docMk/>
            <pc:sldMk cId="278510821" sldId="272"/>
            <ac:grpSpMk id="12" creationId="{336A70E8-9A55-0D7C-F44C-ED840B0A0E91}"/>
          </ac:grpSpMkLst>
        </pc:grpChg>
        <pc:grpChg chg="add mod">
          <ac:chgData name="Natakala, Dak" userId="cd0822e5-8453-49cd-b7f2-0e1ddb2cf849" providerId="ADAL" clId="{7B62E480-7981-4CB4-8BDC-B43B16217FDC}" dt="2023-08-24T11:41:08.609" v="14930" actId="1076"/>
          <ac:grpSpMkLst>
            <pc:docMk/>
            <pc:sldMk cId="278510821" sldId="272"/>
            <ac:grpSpMk id="12" creationId="{7AA274CE-A8A6-48D3-56DC-0414F55E82C0}"/>
          </ac:grpSpMkLst>
        </pc:grpChg>
        <pc:picChg chg="add mod">
          <ac:chgData name="Natakala, Dak" userId="cd0822e5-8453-49cd-b7f2-0e1ddb2cf849" providerId="ADAL" clId="{7B62E480-7981-4CB4-8BDC-B43B16217FDC}" dt="2023-08-24T11:43:57.561" v="14934" actId="1076"/>
          <ac:picMkLst>
            <pc:docMk/>
            <pc:sldMk cId="278510821" sldId="272"/>
            <ac:picMk id="13" creationId="{075F31C7-CCA4-772E-BCE7-348988BF0E31}"/>
          </ac:picMkLst>
        </pc:picChg>
      </pc:sldChg>
      <pc:sldChg chg="addSp delSp modSp new mod modNotesTx">
        <pc:chgData name="Natakala, Dak" userId="cd0822e5-8453-49cd-b7f2-0e1ddb2cf849" providerId="ADAL" clId="{7B62E480-7981-4CB4-8BDC-B43B16217FDC}" dt="2023-08-25T10:35:34.170" v="18476"/>
        <pc:sldMkLst>
          <pc:docMk/>
          <pc:sldMk cId="979361898" sldId="273"/>
        </pc:sldMkLst>
        <pc:spChg chg="del">
          <ac:chgData name="Natakala, Dak" userId="cd0822e5-8453-49cd-b7f2-0e1ddb2cf849" providerId="ADAL" clId="{7B62E480-7981-4CB4-8BDC-B43B16217FDC}" dt="2023-08-24T11:48:20.629" v="15178" actId="478"/>
          <ac:spMkLst>
            <pc:docMk/>
            <pc:sldMk cId="979361898" sldId="273"/>
            <ac:spMk id="2" creationId="{899D6AF5-1C12-EC6D-1DCA-AF7867606A46}"/>
          </ac:spMkLst>
        </pc:spChg>
        <pc:spChg chg="mod">
          <ac:chgData name="Natakala, Dak" userId="cd0822e5-8453-49cd-b7f2-0e1ddb2cf849" providerId="ADAL" clId="{7B62E480-7981-4CB4-8BDC-B43B16217FDC}" dt="2023-08-24T11:47:56.097" v="15173" actId="20577"/>
          <ac:spMkLst>
            <pc:docMk/>
            <pc:sldMk cId="979361898" sldId="273"/>
            <ac:spMk id="3" creationId="{6B7E8576-8549-0AF8-776E-306D0220D557}"/>
          </ac:spMkLst>
        </pc:spChg>
        <pc:spChg chg="del">
          <ac:chgData name="Natakala, Dak" userId="cd0822e5-8453-49cd-b7f2-0e1ddb2cf849" providerId="ADAL" clId="{7B62E480-7981-4CB4-8BDC-B43B16217FDC}" dt="2023-08-24T11:48:20.629" v="15178" actId="478"/>
          <ac:spMkLst>
            <pc:docMk/>
            <pc:sldMk cId="979361898" sldId="273"/>
            <ac:spMk id="4" creationId="{C0F258D4-3F62-C296-3142-954356E49A15}"/>
          </ac:spMkLst>
        </pc:spChg>
        <pc:spChg chg="mod">
          <ac:chgData name="Natakala, Dak" userId="cd0822e5-8453-49cd-b7f2-0e1ddb2cf849" providerId="ADAL" clId="{7B62E480-7981-4CB4-8BDC-B43B16217FDC}" dt="2023-08-24T11:48:23.735" v="15179" actId="14100"/>
          <ac:spMkLst>
            <pc:docMk/>
            <pc:sldMk cId="979361898" sldId="273"/>
            <ac:spMk id="6" creationId="{4F6DEFBB-8E51-BB7F-C799-90F813185262}"/>
          </ac:spMkLst>
        </pc:spChg>
        <pc:spChg chg="mod">
          <ac:chgData name="Natakala, Dak" userId="cd0822e5-8453-49cd-b7f2-0e1ddb2cf849" providerId="ADAL" clId="{7B62E480-7981-4CB4-8BDC-B43B16217FDC}" dt="2023-08-24T15:27:17.370" v="16157" actId="20577"/>
          <ac:spMkLst>
            <pc:docMk/>
            <pc:sldMk cId="979361898" sldId="273"/>
            <ac:spMk id="7" creationId="{9D239482-C630-0739-1CD8-C622EFA89C2A}"/>
          </ac:spMkLst>
        </pc:spChg>
        <pc:spChg chg="mod">
          <ac:chgData name="Natakala, Dak" userId="cd0822e5-8453-49cd-b7f2-0e1ddb2cf849" providerId="ADAL" clId="{7B62E480-7981-4CB4-8BDC-B43B16217FDC}" dt="2023-08-24T15:30:10.553" v="16158" actId="20577"/>
          <ac:spMkLst>
            <pc:docMk/>
            <pc:sldMk cId="979361898" sldId="273"/>
            <ac:spMk id="8" creationId="{D119308B-F430-D26C-9420-381B02FA6127}"/>
          </ac:spMkLst>
        </pc:spChg>
        <pc:spChg chg="add mod">
          <ac:chgData name="Natakala, Dak" userId="cd0822e5-8453-49cd-b7f2-0e1ddb2cf849" providerId="ADAL" clId="{7B62E480-7981-4CB4-8BDC-B43B16217FDC}" dt="2023-08-24T11:49:25.658" v="15184"/>
          <ac:spMkLst>
            <pc:docMk/>
            <pc:sldMk cId="979361898" sldId="273"/>
            <ac:spMk id="11" creationId="{CF3813E4-4B21-C150-C9CB-B88D63CB06B3}"/>
          </ac:spMkLst>
        </pc:spChg>
        <pc:spChg chg="add mod">
          <ac:chgData name="Natakala, Dak" userId="cd0822e5-8453-49cd-b7f2-0e1ddb2cf849" providerId="ADAL" clId="{7B62E480-7981-4CB4-8BDC-B43B16217FDC}" dt="2023-08-24T11:49:25.658" v="15184"/>
          <ac:spMkLst>
            <pc:docMk/>
            <pc:sldMk cId="979361898" sldId="273"/>
            <ac:spMk id="12" creationId="{3C9E2CE7-5410-3A61-76A7-37C17A9FF9B1}"/>
          </ac:spMkLst>
        </pc:spChg>
        <pc:spChg chg="add mod">
          <ac:chgData name="Natakala, Dak" userId="cd0822e5-8453-49cd-b7f2-0e1ddb2cf849" providerId="ADAL" clId="{7B62E480-7981-4CB4-8BDC-B43B16217FDC}" dt="2023-08-24T11:49:47.885" v="15189"/>
          <ac:spMkLst>
            <pc:docMk/>
            <pc:sldMk cId="979361898" sldId="273"/>
            <ac:spMk id="35" creationId="{B9D672E5-DF17-8E78-D674-7E671BF5FB6B}"/>
          </ac:spMkLst>
        </pc:spChg>
        <pc:spChg chg="add mod">
          <ac:chgData name="Natakala, Dak" userId="cd0822e5-8453-49cd-b7f2-0e1ddb2cf849" providerId="ADAL" clId="{7B62E480-7981-4CB4-8BDC-B43B16217FDC}" dt="2023-08-24T11:49:47.885" v="15189"/>
          <ac:spMkLst>
            <pc:docMk/>
            <pc:sldMk cId="979361898" sldId="273"/>
            <ac:spMk id="36" creationId="{139ED824-02AF-0EC1-A7F0-6F5DB05CA538}"/>
          </ac:spMkLst>
        </pc:spChg>
        <pc:spChg chg="add del mod">
          <ac:chgData name="Natakala, Dak" userId="cd0822e5-8453-49cd-b7f2-0e1ddb2cf849" providerId="ADAL" clId="{7B62E480-7981-4CB4-8BDC-B43B16217FDC}" dt="2023-08-24T11:55:26.784" v="15309" actId="478"/>
          <ac:spMkLst>
            <pc:docMk/>
            <pc:sldMk cId="979361898" sldId="273"/>
            <ac:spMk id="58" creationId="{33579D48-3793-7171-AC27-7FCC1311A26F}"/>
          </ac:spMkLst>
        </pc:spChg>
        <pc:spChg chg="add mod">
          <ac:chgData name="Natakala, Dak" userId="cd0822e5-8453-49cd-b7f2-0e1ddb2cf849" providerId="ADAL" clId="{7B62E480-7981-4CB4-8BDC-B43B16217FDC}" dt="2023-08-24T12:21:12.159" v="15758"/>
          <ac:spMkLst>
            <pc:docMk/>
            <pc:sldMk cId="979361898" sldId="273"/>
            <ac:spMk id="60" creationId="{9C824D8A-8A31-15C8-3E96-F4A91A771F20}"/>
          </ac:spMkLst>
        </pc:spChg>
        <pc:spChg chg="add mod">
          <ac:chgData name="Natakala, Dak" userId="cd0822e5-8453-49cd-b7f2-0e1ddb2cf849" providerId="ADAL" clId="{7B62E480-7981-4CB4-8BDC-B43B16217FDC}" dt="2023-08-24T12:21:12.159" v="15758"/>
          <ac:spMkLst>
            <pc:docMk/>
            <pc:sldMk cId="979361898" sldId="273"/>
            <ac:spMk id="61" creationId="{402EEFD6-6FD9-0E9C-24E6-1DCCB1D2057F}"/>
          </ac:spMkLst>
        </pc:spChg>
        <pc:spChg chg="add mod">
          <ac:chgData name="Natakala, Dak" userId="cd0822e5-8453-49cd-b7f2-0e1ddb2cf849" providerId="ADAL" clId="{7B62E480-7981-4CB4-8BDC-B43B16217FDC}" dt="2023-08-24T12:23:22.341" v="16101" actId="404"/>
          <ac:spMkLst>
            <pc:docMk/>
            <pc:sldMk cId="979361898" sldId="273"/>
            <ac:spMk id="83" creationId="{0067DD5F-D9FE-E86F-9D0D-362580BEC462}"/>
          </ac:spMkLst>
        </pc:spChg>
        <pc:grpChg chg="mod">
          <ac:chgData name="Natakala, Dak" userId="cd0822e5-8453-49cd-b7f2-0e1ddb2cf849" providerId="ADAL" clId="{7B62E480-7981-4CB4-8BDC-B43B16217FDC}" dt="2023-08-24T11:39:15.290" v="14690" actId="14100"/>
          <ac:grpSpMkLst>
            <pc:docMk/>
            <pc:sldMk cId="979361898" sldId="273"/>
            <ac:grpSpMk id="9" creationId="{B4C5B74D-FEB0-267D-C75D-8EB234DFAC76}"/>
          </ac:grpSpMkLst>
        </pc:grpChg>
        <pc:grpChg chg="add del mod">
          <ac:chgData name="Natakala, Dak" userId="cd0822e5-8453-49cd-b7f2-0e1ddb2cf849" providerId="ADAL" clId="{7B62E480-7981-4CB4-8BDC-B43B16217FDC}" dt="2023-08-24T11:55:24.711" v="15308" actId="478"/>
          <ac:grpSpMkLst>
            <pc:docMk/>
            <pc:sldMk cId="979361898" sldId="273"/>
            <ac:grpSpMk id="10" creationId="{F4AB9043-9C12-A6DF-1C0C-DF1307C4B79F}"/>
          </ac:grpSpMkLst>
        </pc:grpChg>
        <pc:grpChg chg="add mod">
          <ac:chgData name="Natakala, Dak" userId="cd0822e5-8453-49cd-b7f2-0e1ddb2cf849" providerId="ADAL" clId="{7B62E480-7981-4CB4-8BDC-B43B16217FDC}" dt="2023-08-24T11:49:47.885" v="15189"/>
          <ac:grpSpMkLst>
            <pc:docMk/>
            <pc:sldMk cId="979361898" sldId="273"/>
            <ac:grpSpMk id="34" creationId="{91958CF5-01EC-3E16-0DE2-698C0D4EC9B8}"/>
          </ac:grpSpMkLst>
        </pc:grpChg>
        <pc:grpChg chg="add mod">
          <ac:chgData name="Natakala, Dak" userId="cd0822e5-8453-49cd-b7f2-0e1ddb2cf849" providerId="ADAL" clId="{7B62E480-7981-4CB4-8BDC-B43B16217FDC}" dt="2023-08-24T12:21:18.331" v="15760" actId="14100"/>
          <ac:grpSpMkLst>
            <pc:docMk/>
            <pc:sldMk cId="979361898" sldId="273"/>
            <ac:grpSpMk id="59" creationId="{7609684D-470C-BBDD-F78F-6305494E9932}"/>
          </ac:grpSpMkLst>
        </pc:grpChg>
        <pc:cxnChg chg="add mod">
          <ac:chgData name="Natakala, Dak" userId="cd0822e5-8453-49cd-b7f2-0e1ddb2cf849" providerId="ADAL" clId="{7B62E480-7981-4CB4-8BDC-B43B16217FDC}" dt="2023-08-24T11:55:24.711" v="15308" actId="478"/>
          <ac:cxnSpMkLst>
            <pc:docMk/>
            <pc:sldMk cId="979361898" sldId="273"/>
            <ac:cxnSpMk id="13" creationId="{D7EE626E-B4D2-3CFC-01B3-B3DFCBA2678B}"/>
          </ac:cxnSpMkLst>
        </pc:cxnChg>
        <pc:cxnChg chg="add mod">
          <ac:chgData name="Natakala, Dak" userId="cd0822e5-8453-49cd-b7f2-0e1ddb2cf849" providerId="ADAL" clId="{7B62E480-7981-4CB4-8BDC-B43B16217FDC}" dt="2023-08-24T11:49:25.658" v="15184"/>
          <ac:cxnSpMkLst>
            <pc:docMk/>
            <pc:sldMk cId="979361898" sldId="273"/>
            <ac:cxnSpMk id="14" creationId="{F8FAED65-9254-4FA7-E28D-1B240C373115}"/>
          </ac:cxnSpMkLst>
        </pc:cxnChg>
        <pc:cxnChg chg="add mod">
          <ac:chgData name="Natakala, Dak" userId="cd0822e5-8453-49cd-b7f2-0e1ddb2cf849" providerId="ADAL" clId="{7B62E480-7981-4CB4-8BDC-B43B16217FDC}" dt="2023-08-24T11:49:25.658" v="15184"/>
          <ac:cxnSpMkLst>
            <pc:docMk/>
            <pc:sldMk cId="979361898" sldId="273"/>
            <ac:cxnSpMk id="15" creationId="{0497F08F-34CB-DE41-A668-C140E8A7D554}"/>
          </ac:cxnSpMkLst>
        </pc:cxnChg>
        <pc:cxnChg chg="add mod">
          <ac:chgData name="Natakala, Dak" userId="cd0822e5-8453-49cd-b7f2-0e1ddb2cf849" providerId="ADAL" clId="{7B62E480-7981-4CB4-8BDC-B43B16217FDC}" dt="2023-08-24T11:49:25.658" v="15184"/>
          <ac:cxnSpMkLst>
            <pc:docMk/>
            <pc:sldMk cId="979361898" sldId="273"/>
            <ac:cxnSpMk id="16" creationId="{6D9ABBBA-1D73-0D4B-BAD6-991A74E5BAA8}"/>
          </ac:cxnSpMkLst>
        </pc:cxnChg>
        <pc:cxnChg chg="add mod">
          <ac:chgData name="Natakala, Dak" userId="cd0822e5-8453-49cd-b7f2-0e1ddb2cf849" providerId="ADAL" clId="{7B62E480-7981-4CB4-8BDC-B43B16217FDC}" dt="2023-08-24T11:49:25.658" v="15184"/>
          <ac:cxnSpMkLst>
            <pc:docMk/>
            <pc:sldMk cId="979361898" sldId="273"/>
            <ac:cxnSpMk id="17" creationId="{C24A76FE-EAD6-936F-D5EC-A68FB9896AE0}"/>
          </ac:cxnSpMkLst>
        </pc:cxnChg>
        <pc:cxnChg chg="add mod">
          <ac:chgData name="Natakala, Dak" userId="cd0822e5-8453-49cd-b7f2-0e1ddb2cf849" providerId="ADAL" clId="{7B62E480-7981-4CB4-8BDC-B43B16217FDC}" dt="2023-08-24T11:49:25.658" v="15184"/>
          <ac:cxnSpMkLst>
            <pc:docMk/>
            <pc:sldMk cId="979361898" sldId="273"/>
            <ac:cxnSpMk id="18" creationId="{973F4EAE-E23E-ED4C-3C50-F6B0C364B767}"/>
          </ac:cxnSpMkLst>
        </pc:cxnChg>
        <pc:cxnChg chg="add mod">
          <ac:chgData name="Natakala, Dak" userId="cd0822e5-8453-49cd-b7f2-0e1ddb2cf849" providerId="ADAL" clId="{7B62E480-7981-4CB4-8BDC-B43B16217FDC}" dt="2023-08-24T11:49:25.658" v="15184"/>
          <ac:cxnSpMkLst>
            <pc:docMk/>
            <pc:sldMk cId="979361898" sldId="273"/>
            <ac:cxnSpMk id="19" creationId="{F38AC484-388A-C3BF-E3A8-98172DEDE3C5}"/>
          </ac:cxnSpMkLst>
        </pc:cxnChg>
        <pc:cxnChg chg="add mod">
          <ac:chgData name="Natakala, Dak" userId="cd0822e5-8453-49cd-b7f2-0e1ddb2cf849" providerId="ADAL" clId="{7B62E480-7981-4CB4-8BDC-B43B16217FDC}" dt="2023-08-24T11:49:25.658" v="15184"/>
          <ac:cxnSpMkLst>
            <pc:docMk/>
            <pc:sldMk cId="979361898" sldId="273"/>
            <ac:cxnSpMk id="20" creationId="{82EE2147-5F41-850E-EC53-59EC9DDD605B}"/>
          </ac:cxnSpMkLst>
        </pc:cxnChg>
        <pc:cxnChg chg="add mod">
          <ac:chgData name="Natakala, Dak" userId="cd0822e5-8453-49cd-b7f2-0e1ddb2cf849" providerId="ADAL" clId="{7B62E480-7981-4CB4-8BDC-B43B16217FDC}" dt="2023-08-24T11:49:25.658" v="15184"/>
          <ac:cxnSpMkLst>
            <pc:docMk/>
            <pc:sldMk cId="979361898" sldId="273"/>
            <ac:cxnSpMk id="21" creationId="{23C3FF1A-7CB6-28D1-E16C-3B47CEED7F1A}"/>
          </ac:cxnSpMkLst>
        </pc:cxnChg>
        <pc:cxnChg chg="add mod">
          <ac:chgData name="Natakala, Dak" userId="cd0822e5-8453-49cd-b7f2-0e1ddb2cf849" providerId="ADAL" clId="{7B62E480-7981-4CB4-8BDC-B43B16217FDC}" dt="2023-08-24T11:49:25.658" v="15184"/>
          <ac:cxnSpMkLst>
            <pc:docMk/>
            <pc:sldMk cId="979361898" sldId="273"/>
            <ac:cxnSpMk id="22" creationId="{6443C124-CBB8-4A7F-96DF-CAEE5EA65742}"/>
          </ac:cxnSpMkLst>
        </pc:cxnChg>
        <pc:cxnChg chg="add mod">
          <ac:chgData name="Natakala, Dak" userId="cd0822e5-8453-49cd-b7f2-0e1ddb2cf849" providerId="ADAL" clId="{7B62E480-7981-4CB4-8BDC-B43B16217FDC}" dt="2023-08-24T11:49:25.658" v="15184"/>
          <ac:cxnSpMkLst>
            <pc:docMk/>
            <pc:sldMk cId="979361898" sldId="273"/>
            <ac:cxnSpMk id="23" creationId="{6D5DE6B2-21F1-C5AA-C862-3C0C0840491D}"/>
          </ac:cxnSpMkLst>
        </pc:cxnChg>
        <pc:cxnChg chg="add mod">
          <ac:chgData name="Natakala, Dak" userId="cd0822e5-8453-49cd-b7f2-0e1ddb2cf849" providerId="ADAL" clId="{7B62E480-7981-4CB4-8BDC-B43B16217FDC}" dt="2023-08-24T11:49:25.658" v="15184"/>
          <ac:cxnSpMkLst>
            <pc:docMk/>
            <pc:sldMk cId="979361898" sldId="273"/>
            <ac:cxnSpMk id="24" creationId="{2133CD07-A192-CE31-9BC9-71D1A78C798A}"/>
          </ac:cxnSpMkLst>
        </pc:cxnChg>
        <pc:cxnChg chg="add mod">
          <ac:chgData name="Natakala, Dak" userId="cd0822e5-8453-49cd-b7f2-0e1ddb2cf849" providerId="ADAL" clId="{7B62E480-7981-4CB4-8BDC-B43B16217FDC}" dt="2023-08-24T11:55:24.711" v="15308" actId="478"/>
          <ac:cxnSpMkLst>
            <pc:docMk/>
            <pc:sldMk cId="979361898" sldId="273"/>
            <ac:cxnSpMk id="25" creationId="{C9896D19-6162-62B1-EEA8-BB28D76F0444}"/>
          </ac:cxnSpMkLst>
        </pc:cxnChg>
        <pc:cxnChg chg="add mod">
          <ac:chgData name="Natakala, Dak" userId="cd0822e5-8453-49cd-b7f2-0e1ddb2cf849" providerId="ADAL" clId="{7B62E480-7981-4CB4-8BDC-B43B16217FDC}" dt="2023-08-24T11:49:25.658" v="15184"/>
          <ac:cxnSpMkLst>
            <pc:docMk/>
            <pc:sldMk cId="979361898" sldId="273"/>
            <ac:cxnSpMk id="26" creationId="{FA44639B-FEB2-0B63-5EC0-0CAA74EA8E77}"/>
          </ac:cxnSpMkLst>
        </pc:cxnChg>
        <pc:cxnChg chg="add mod">
          <ac:chgData name="Natakala, Dak" userId="cd0822e5-8453-49cd-b7f2-0e1ddb2cf849" providerId="ADAL" clId="{7B62E480-7981-4CB4-8BDC-B43B16217FDC}" dt="2023-08-24T11:49:25.658" v="15184"/>
          <ac:cxnSpMkLst>
            <pc:docMk/>
            <pc:sldMk cId="979361898" sldId="273"/>
            <ac:cxnSpMk id="27" creationId="{E02382E6-534E-213B-BFF2-7ADF483CE3E4}"/>
          </ac:cxnSpMkLst>
        </pc:cxnChg>
        <pc:cxnChg chg="add mod">
          <ac:chgData name="Natakala, Dak" userId="cd0822e5-8453-49cd-b7f2-0e1ddb2cf849" providerId="ADAL" clId="{7B62E480-7981-4CB4-8BDC-B43B16217FDC}" dt="2023-08-24T11:49:25.658" v="15184"/>
          <ac:cxnSpMkLst>
            <pc:docMk/>
            <pc:sldMk cId="979361898" sldId="273"/>
            <ac:cxnSpMk id="28" creationId="{538A7DC8-BEE0-892D-4A84-D860C8393F52}"/>
          </ac:cxnSpMkLst>
        </pc:cxnChg>
        <pc:cxnChg chg="add mod">
          <ac:chgData name="Natakala, Dak" userId="cd0822e5-8453-49cd-b7f2-0e1ddb2cf849" providerId="ADAL" clId="{7B62E480-7981-4CB4-8BDC-B43B16217FDC}" dt="2023-08-24T11:49:25.658" v="15184"/>
          <ac:cxnSpMkLst>
            <pc:docMk/>
            <pc:sldMk cId="979361898" sldId="273"/>
            <ac:cxnSpMk id="29" creationId="{F48CC177-BCB9-BBFE-404F-A7753EEBF93C}"/>
          </ac:cxnSpMkLst>
        </pc:cxnChg>
        <pc:cxnChg chg="add mod">
          <ac:chgData name="Natakala, Dak" userId="cd0822e5-8453-49cd-b7f2-0e1ddb2cf849" providerId="ADAL" clId="{7B62E480-7981-4CB4-8BDC-B43B16217FDC}" dt="2023-08-24T11:49:25.658" v="15184"/>
          <ac:cxnSpMkLst>
            <pc:docMk/>
            <pc:sldMk cId="979361898" sldId="273"/>
            <ac:cxnSpMk id="30" creationId="{F2575DA3-336E-19C6-F6E6-9F24BA7DA651}"/>
          </ac:cxnSpMkLst>
        </pc:cxnChg>
        <pc:cxnChg chg="add mod">
          <ac:chgData name="Natakala, Dak" userId="cd0822e5-8453-49cd-b7f2-0e1ddb2cf849" providerId="ADAL" clId="{7B62E480-7981-4CB4-8BDC-B43B16217FDC}" dt="2023-08-24T11:49:25.658" v="15184"/>
          <ac:cxnSpMkLst>
            <pc:docMk/>
            <pc:sldMk cId="979361898" sldId="273"/>
            <ac:cxnSpMk id="31" creationId="{8586922D-6240-6750-D6D0-18E92F5527B4}"/>
          </ac:cxnSpMkLst>
        </pc:cxnChg>
        <pc:cxnChg chg="add mod">
          <ac:chgData name="Natakala, Dak" userId="cd0822e5-8453-49cd-b7f2-0e1ddb2cf849" providerId="ADAL" clId="{7B62E480-7981-4CB4-8BDC-B43B16217FDC}" dt="2023-08-24T11:49:25.658" v="15184"/>
          <ac:cxnSpMkLst>
            <pc:docMk/>
            <pc:sldMk cId="979361898" sldId="273"/>
            <ac:cxnSpMk id="32" creationId="{38AFF1C0-3CBD-A30E-9786-69651EE0B18A}"/>
          </ac:cxnSpMkLst>
        </pc:cxnChg>
        <pc:cxnChg chg="add mod">
          <ac:chgData name="Natakala, Dak" userId="cd0822e5-8453-49cd-b7f2-0e1ddb2cf849" providerId="ADAL" clId="{7B62E480-7981-4CB4-8BDC-B43B16217FDC}" dt="2023-08-24T11:49:25.658" v="15184"/>
          <ac:cxnSpMkLst>
            <pc:docMk/>
            <pc:sldMk cId="979361898" sldId="273"/>
            <ac:cxnSpMk id="33" creationId="{335489A8-3638-A981-6D10-C6F11D4828B3}"/>
          </ac:cxnSpMkLst>
        </pc:cxnChg>
        <pc:cxnChg chg="add mod">
          <ac:chgData name="Natakala, Dak" userId="cd0822e5-8453-49cd-b7f2-0e1ddb2cf849" providerId="ADAL" clId="{7B62E480-7981-4CB4-8BDC-B43B16217FDC}" dt="2023-08-24T11:49:47.885" v="15189"/>
          <ac:cxnSpMkLst>
            <pc:docMk/>
            <pc:sldMk cId="979361898" sldId="273"/>
            <ac:cxnSpMk id="37" creationId="{D4466385-C2D5-B237-C24C-FE59507A8371}"/>
          </ac:cxnSpMkLst>
        </pc:cxnChg>
        <pc:cxnChg chg="add mod">
          <ac:chgData name="Natakala, Dak" userId="cd0822e5-8453-49cd-b7f2-0e1ddb2cf849" providerId="ADAL" clId="{7B62E480-7981-4CB4-8BDC-B43B16217FDC}" dt="2023-08-24T11:49:47.885" v="15189"/>
          <ac:cxnSpMkLst>
            <pc:docMk/>
            <pc:sldMk cId="979361898" sldId="273"/>
            <ac:cxnSpMk id="38" creationId="{AE17178F-1708-7DC9-FF14-ABA0867237F7}"/>
          </ac:cxnSpMkLst>
        </pc:cxnChg>
        <pc:cxnChg chg="add mod">
          <ac:chgData name="Natakala, Dak" userId="cd0822e5-8453-49cd-b7f2-0e1ddb2cf849" providerId="ADAL" clId="{7B62E480-7981-4CB4-8BDC-B43B16217FDC}" dt="2023-08-24T11:49:47.885" v="15189"/>
          <ac:cxnSpMkLst>
            <pc:docMk/>
            <pc:sldMk cId="979361898" sldId="273"/>
            <ac:cxnSpMk id="39" creationId="{92E0F870-D7C4-53E4-20E0-16C6C4472B50}"/>
          </ac:cxnSpMkLst>
        </pc:cxnChg>
        <pc:cxnChg chg="add mod">
          <ac:chgData name="Natakala, Dak" userId="cd0822e5-8453-49cd-b7f2-0e1ddb2cf849" providerId="ADAL" clId="{7B62E480-7981-4CB4-8BDC-B43B16217FDC}" dt="2023-08-24T11:49:47.885" v="15189"/>
          <ac:cxnSpMkLst>
            <pc:docMk/>
            <pc:sldMk cId="979361898" sldId="273"/>
            <ac:cxnSpMk id="40" creationId="{2AB062BC-08C2-D03F-0A35-A7289CFE55C3}"/>
          </ac:cxnSpMkLst>
        </pc:cxnChg>
        <pc:cxnChg chg="add mod">
          <ac:chgData name="Natakala, Dak" userId="cd0822e5-8453-49cd-b7f2-0e1ddb2cf849" providerId="ADAL" clId="{7B62E480-7981-4CB4-8BDC-B43B16217FDC}" dt="2023-08-24T11:49:47.885" v="15189"/>
          <ac:cxnSpMkLst>
            <pc:docMk/>
            <pc:sldMk cId="979361898" sldId="273"/>
            <ac:cxnSpMk id="41" creationId="{AA948301-58AE-93F6-C8A6-96317D48B705}"/>
          </ac:cxnSpMkLst>
        </pc:cxnChg>
        <pc:cxnChg chg="add mod">
          <ac:chgData name="Natakala, Dak" userId="cd0822e5-8453-49cd-b7f2-0e1ddb2cf849" providerId="ADAL" clId="{7B62E480-7981-4CB4-8BDC-B43B16217FDC}" dt="2023-08-24T11:49:47.885" v="15189"/>
          <ac:cxnSpMkLst>
            <pc:docMk/>
            <pc:sldMk cId="979361898" sldId="273"/>
            <ac:cxnSpMk id="42" creationId="{A945A9BE-B4E0-2D2D-BBCE-C7CDA13FE2BE}"/>
          </ac:cxnSpMkLst>
        </pc:cxnChg>
        <pc:cxnChg chg="add mod">
          <ac:chgData name="Natakala, Dak" userId="cd0822e5-8453-49cd-b7f2-0e1ddb2cf849" providerId="ADAL" clId="{7B62E480-7981-4CB4-8BDC-B43B16217FDC}" dt="2023-08-24T11:49:47.885" v="15189"/>
          <ac:cxnSpMkLst>
            <pc:docMk/>
            <pc:sldMk cId="979361898" sldId="273"/>
            <ac:cxnSpMk id="43" creationId="{5817EC98-BF6E-7948-AAE2-E65D4148497C}"/>
          </ac:cxnSpMkLst>
        </pc:cxnChg>
        <pc:cxnChg chg="add mod">
          <ac:chgData name="Natakala, Dak" userId="cd0822e5-8453-49cd-b7f2-0e1ddb2cf849" providerId="ADAL" clId="{7B62E480-7981-4CB4-8BDC-B43B16217FDC}" dt="2023-08-24T11:49:47.885" v="15189"/>
          <ac:cxnSpMkLst>
            <pc:docMk/>
            <pc:sldMk cId="979361898" sldId="273"/>
            <ac:cxnSpMk id="44" creationId="{02A56E55-1EA4-1DC3-1FC2-31A9051CE2EC}"/>
          </ac:cxnSpMkLst>
        </pc:cxnChg>
        <pc:cxnChg chg="add mod">
          <ac:chgData name="Natakala, Dak" userId="cd0822e5-8453-49cd-b7f2-0e1ddb2cf849" providerId="ADAL" clId="{7B62E480-7981-4CB4-8BDC-B43B16217FDC}" dt="2023-08-24T11:49:47.885" v="15189"/>
          <ac:cxnSpMkLst>
            <pc:docMk/>
            <pc:sldMk cId="979361898" sldId="273"/>
            <ac:cxnSpMk id="45" creationId="{F099CAC7-0739-8631-2513-13F320672144}"/>
          </ac:cxnSpMkLst>
        </pc:cxnChg>
        <pc:cxnChg chg="add mod">
          <ac:chgData name="Natakala, Dak" userId="cd0822e5-8453-49cd-b7f2-0e1ddb2cf849" providerId="ADAL" clId="{7B62E480-7981-4CB4-8BDC-B43B16217FDC}" dt="2023-08-24T11:49:47.885" v="15189"/>
          <ac:cxnSpMkLst>
            <pc:docMk/>
            <pc:sldMk cId="979361898" sldId="273"/>
            <ac:cxnSpMk id="46" creationId="{75B832E5-6CD9-E0E8-2414-8BE436E626A4}"/>
          </ac:cxnSpMkLst>
        </pc:cxnChg>
        <pc:cxnChg chg="add mod">
          <ac:chgData name="Natakala, Dak" userId="cd0822e5-8453-49cd-b7f2-0e1ddb2cf849" providerId="ADAL" clId="{7B62E480-7981-4CB4-8BDC-B43B16217FDC}" dt="2023-08-24T11:49:47.885" v="15189"/>
          <ac:cxnSpMkLst>
            <pc:docMk/>
            <pc:sldMk cId="979361898" sldId="273"/>
            <ac:cxnSpMk id="47" creationId="{A9B978AB-4A77-5985-7657-C02112673D51}"/>
          </ac:cxnSpMkLst>
        </pc:cxnChg>
        <pc:cxnChg chg="add mod">
          <ac:chgData name="Natakala, Dak" userId="cd0822e5-8453-49cd-b7f2-0e1ddb2cf849" providerId="ADAL" clId="{7B62E480-7981-4CB4-8BDC-B43B16217FDC}" dt="2023-08-24T11:49:47.885" v="15189"/>
          <ac:cxnSpMkLst>
            <pc:docMk/>
            <pc:sldMk cId="979361898" sldId="273"/>
            <ac:cxnSpMk id="48" creationId="{9F042600-B224-94E1-4B45-98AD67D38CBD}"/>
          </ac:cxnSpMkLst>
        </pc:cxnChg>
        <pc:cxnChg chg="add mod">
          <ac:chgData name="Natakala, Dak" userId="cd0822e5-8453-49cd-b7f2-0e1ddb2cf849" providerId="ADAL" clId="{7B62E480-7981-4CB4-8BDC-B43B16217FDC}" dt="2023-08-24T11:49:47.885" v="15189"/>
          <ac:cxnSpMkLst>
            <pc:docMk/>
            <pc:sldMk cId="979361898" sldId="273"/>
            <ac:cxnSpMk id="49" creationId="{AF1176A7-D728-BD35-D294-F44FFB492BF1}"/>
          </ac:cxnSpMkLst>
        </pc:cxnChg>
        <pc:cxnChg chg="add mod">
          <ac:chgData name="Natakala, Dak" userId="cd0822e5-8453-49cd-b7f2-0e1ddb2cf849" providerId="ADAL" clId="{7B62E480-7981-4CB4-8BDC-B43B16217FDC}" dt="2023-08-24T11:49:47.885" v="15189"/>
          <ac:cxnSpMkLst>
            <pc:docMk/>
            <pc:sldMk cId="979361898" sldId="273"/>
            <ac:cxnSpMk id="50" creationId="{33DC5CC1-BC06-7FB6-479F-4A3FE2E47553}"/>
          </ac:cxnSpMkLst>
        </pc:cxnChg>
        <pc:cxnChg chg="add mod">
          <ac:chgData name="Natakala, Dak" userId="cd0822e5-8453-49cd-b7f2-0e1ddb2cf849" providerId="ADAL" clId="{7B62E480-7981-4CB4-8BDC-B43B16217FDC}" dt="2023-08-24T11:49:47.885" v="15189"/>
          <ac:cxnSpMkLst>
            <pc:docMk/>
            <pc:sldMk cId="979361898" sldId="273"/>
            <ac:cxnSpMk id="51" creationId="{BE3930DD-52DB-AEDC-1761-678E74879265}"/>
          </ac:cxnSpMkLst>
        </pc:cxnChg>
        <pc:cxnChg chg="add mod">
          <ac:chgData name="Natakala, Dak" userId="cd0822e5-8453-49cd-b7f2-0e1ddb2cf849" providerId="ADAL" clId="{7B62E480-7981-4CB4-8BDC-B43B16217FDC}" dt="2023-08-24T11:49:47.885" v="15189"/>
          <ac:cxnSpMkLst>
            <pc:docMk/>
            <pc:sldMk cId="979361898" sldId="273"/>
            <ac:cxnSpMk id="52" creationId="{73B7B7CC-D445-CB96-5306-BFFEFCD87176}"/>
          </ac:cxnSpMkLst>
        </pc:cxnChg>
        <pc:cxnChg chg="add mod">
          <ac:chgData name="Natakala, Dak" userId="cd0822e5-8453-49cd-b7f2-0e1ddb2cf849" providerId="ADAL" clId="{7B62E480-7981-4CB4-8BDC-B43B16217FDC}" dt="2023-08-24T11:49:47.885" v="15189"/>
          <ac:cxnSpMkLst>
            <pc:docMk/>
            <pc:sldMk cId="979361898" sldId="273"/>
            <ac:cxnSpMk id="53" creationId="{2264C8EA-3B7F-5283-93B3-C33FFEAEBC9E}"/>
          </ac:cxnSpMkLst>
        </pc:cxnChg>
        <pc:cxnChg chg="add mod">
          <ac:chgData name="Natakala, Dak" userId="cd0822e5-8453-49cd-b7f2-0e1ddb2cf849" providerId="ADAL" clId="{7B62E480-7981-4CB4-8BDC-B43B16217FDC}" dt="2023-08-24T11:49:47.885" v="15189"/>
          <ac:cxnSpMkLst>
            <pc:docMk/>
            <pc:sldMk cId="979361898" sldId="273"/>
            <ac:cxnSpMk id="54" creationId="{ED5668DC-CE79-21BD-628A-90DEEA9408E3}"/>
          </ac:cxnSpMkLst>
        </pc:cxnChg>
        <pc:cxnChg chg="add mod">
          <ac:chgData name="Natakala, Dak" userId="cd0822e5-8453-49cd-b7f2-0e1ddb2cf849" providerId="ADAL" clId="{7B62E480-7981-4CB4-8BDC-B43B16217FDC}" dt="2023-08-24T11:49:47.885" v="15189"/>
          <ac:cxnSpMkLst>
            <pc:docMk/>
            <pc:sldMk cId="979361898" sldId="273"/>
            <ac:cxnSpMk id="55" creationId="{B609F46D-FA4B-92C9-B09A-BA604D344462}"/>
          </ac:cxnSpMkLst>
        </pc:cxnChg>
        <pc:cxnChg chg="add mod">
          <ac:chgData name="Natakala, Dak" userId="cd0822e5-8453-49cd-b7f2-0e1ddb2cf849" providerId="ADAL" clId="{7B62E480-7981-4CB4-8BDC-B43B16217FDC}" dt="2023-08-24T11:49:47.885" v="15189"/>
          <ac:cxnSpMkLst>
            <pc:docMk/>
            <pc:sldMk cId="979361898" sldId="273"/>
            <ac:cxnSpMk id="56" creationId="{DDFFA858-075B-77F7-EA3A-17EFC04DEC52}"/>
          </ac:cxnSpMkLst>
        </pc:cxnChg>
        <pc:cxnChg chg="add mod">
          <ac:chgData name="Natakala, Dak" userId="cd0822e5-8453-49cd-b7f2-0e1ddb2cf849" providerId="ADAL" clId="{7B62E480-7981-4CB4-8BDC-B43B16217FDC}" dt="2023-08-24T11:49:47.885" v="15189"/>
          <ac:cxnSpMkLst>
            <pc:docMk/>
            <pc:sldMk cId="979361898" sldId="273"/>
            <ac:cxnSpMk id="57" creationId="{F8F6DF0B-BA38-B9D3-2AD9-0B9D87AE605D}"/>
          </ac:cxnSpMkLst>
        </pc:cxnChg>
        <pc:cxnChg chg="add mod">
          <ac:chgData name="Natakala, Dak" userId="cd0822e5-8453-49cd-b7f2-0e1ddb2cf849" providerId="ADAL" clId="{7B62E480-7981-4CB4-8BDC-B43B16217FDC}" dt="2023-08-24T12:21:12.159" v="15758"/>
          <ac:cxnSpMkLst>
            <pc:docMk/>
            <pc:sldMk cId="979361898" sldId="273"/>
            <ac:cxnSpMk id="62" creationId="{A6AB8B01-A580-0876-1393-6E0AEE0F8FC6}"/>
          </ac:cxnSpMkLst>
        </pc:cxnChg>
        <pc:cxnChg chg="add mod">
          <ac:chgData name="Natakala, Dak" userId="cd0822e5-8453-49cd-b7f2-0e1ddb2cf849" providerId="ADAL" clId="{7B62E480-7981-4CB4-8BDC-B43B16217FDC}" dt="2023-08-24T12:21:12.159" v="15758"/>
          <ac:cxnSpMkLst>
            <pc:docMk/>
            <pc:sldMk cId="979361898" sldId="273"/>
            <ac:cxnSpMk id="63" creationId="{FC7531F8-05AB-DE66-2591-9C9FDE1E2A3F}"/>
          </ac:cxnSpMkLst>
        </pc:cxnChg>
        <pc:cxnChg chg="add mod">
          <ac:chgData name="Natakala, Dak" userId="cd0822e5-8453-49cd-b7f2-0e1ddb2cf849" providerId="ADAL" clId="{7B62E480-7981-4CB4-8BDC-B43B16217FDC}" dt="2023-08-24T12:21:12.159" v="15758"/>
          <ac:cxnSpMkLst>
            <pc:docMk/>
            <pc:sldMk cId="979361898" sldId="273"/>
            <ac:cxnSpMk id="64" creationId="{986DB6C6-DEF8-DAC7-0B2C-F9B23803D366}"/>
          </ac:cxnSpMkLst>
        </pc:cxnChg>
        <pc:cxnChg chg="add mod">
          <ac:chgData name="Natakala, Dak" userId="cd0822e5-8453-49cd-b7f2-0e1ddb2cf849" providerId="ADAL" clId="{7B62E480-7981-4CB4-8BDC-B43B16217FDC}" dt="2023-08-24T12:21:12.159" v="15758"/>
          <ac:cxnSpMkLst>
            <pc:docMk/>
            <pc:sldMk cId="979361898" sldId="273"/>
            <ac:cxnSpMk id="65" creationId="{166D035D-C2A0-DA0F-30A4-7AA07B0A52C7}"/>
          </ac:cxnSpMkLst>
        </pc:cxnChg>
        <pc:cxnChg chg="add mod">
          <ac:chgData name="Natakala, Dak" userId="cd0822e5-8453-49cd-b7f2-0e1ddb2cf849" providerId="ADAL" clId="{7B62E480-7981-4CB4-8BDC-B43B16217FDC}" dt="2023-08-24T12:21:12.159" v="15758"/>
          <ac:cxnSpMkLst>
            <pc:docMk/>
            <pc:sldMk cId="979361898" sldId="273"/>
            <ac:cxnSpMk id="66" creationId="{AE071FE0-6B77-9D1C-8998-30BD7FA4BC48}"/>
          </ac:cxnSpMkLst>
        </pc:cxnChg>
        <pc:cxnChg chg="add mod">
          <ac:chgData name="Natakala, Dak" userId="cd0822e5-8453-49cd-b7f2-0e1ddb2cf849" providerId="ADAL" clId="{7B62E480-7981-4CB4-8BDC-B43B16217FDC}" dt="2023-08-24T12:21:12.159" v="15758"/>
          <ac:cxnSpMkLst>
            <pc:docMk/>
            <pc:sldMk cId="979361898" sldId="273"/>
            <ac:cxnSpMk id="67" creationId="{71C78299-D285-659D-534D-C15878DBAECE}"/>
          </ac:cxnSpMkLst>
        </pc:cxnChg>
        <pc:cxnChg chg="add mod">
          <ac:chgData name="Natakala, Dak" userId="cd0822e5-8453-49cd-b7f2-0e1ddb2cf849" providerId="ADAL" clId="{7B62E480-7981-4CB4-8BDC-B43B16217FDC}" dt="2023-08-24T12:21:12.159" v="15758"/>
          <ac:cxnSpMkLst>
            <pc:docMk/>
            <pc:sldMk cId="979361898" sldId="273"/>
            <ac:cxnSpMk id="68" creationId="{33D9D9C1-A536-D868-06BB-C8B3CE0D900E}"/>
          </ac:cxnSpMkLst>
        </pc:cxnChg>
        <pc:cxnChg chg="add mod">
          <ac:chgData name="Natakala, Dak" userId="cd0822e5-8453-49cd-b7f2-0e1ddb2cf849" providerId="ADAL" clId="{7B62E480-7981-4CB4-8BDC-B43B16217FDC}" dt="2023-08-24T12:21:12.159" v="15758"/>
          <ac:cxnSpMkLst>
            <pc:docMk/>
            <pc:sldMk cId="979361898" sldId="273"/>
            <ac:cxnSpMk id="69" creationId="{A7EF2AF8-1737-9171-C2F8-D9DE5E18BE70}"/>
          </ac:cxnSpMkLst>
        </pc:cxnChg>
        <pc:cxnChg chg="add mod">
          <ac:chgData name="Natakala, Dak" userId="cd0822e5-8453-49cd-b7f2-0e1ddb2cf849" providerId="ADAL" clId="{7B62E480-7981-4CB4-8BDC-B43B16217FDC}" dt="2023-08-24T12:21:12.159" v="15758"/>
          <ac:cxnSpMkLst>
            <pc:docMk/>
            <pc:sldMk cId="979361898" sldId="273"/>
            <ac:cxnSpMk id="70" creationId="{4E3FA6DA-B7B4-77D5-0F37-67D4784E33AF}"/>
          </ac:cxnSpMkLst>
        </pc:cxnChg>
        <pc:cxnChg chg="add mod">
          <ac:chgData name="Natakala, Dak" userId="cd0822e5-8453-49cd-b7f2-0e1ddb2cf849" providerId="ADAL" clId="{7B62E480-7981-4CB4-8BDC-B43B16217FDC}" dt="2023-08-24T12:21:12.159" v="15758"/>
          <ac:cxnSpMkLst>
            <pc:docMk/>
            <pc:sldMk cId="979361898" sldId="273"/>
            <ac:cxnSpMk id="71" creationId="{D0F19AFC-2050-6605-E570-07C529FFAF59}"/>
          </ac:cxnSpMkLst>
        </pc:cxnChg>
        <pc:cxnChg chg="add mod">
          <ac:chgData name="Natakala, Dak" userId="cd0822e5-8453-49cd-b7f2-0e1ddb2cf849" providerId="ADAL" clId="{7B62E480-7981-4CB4-8BDC-B43B16217FDC}" dt="2023-08-24T12:21:12.159" v="15758"/>
          <ac:cxnSpMkLst>
            <pc:docMk/>
            <pc:sldMk cId="979361898" sldId="273"/>
            <ac:cxnSpMk id="72" creationId="{E4B68DFD-B718-643D-6A7E-461BD6CC8F1C}"/>
          </ac:cxnSpMkLst>
        </pc:cxnChg>
        <pc:cxnChg chg="add mod">
          <ac:chgData name="Natakala, Dak" userId="cd0822e5-8453-49cd-b7f2-0e1ddb2cf849" providerId="ADAL" clId="{7B62E480-7981-4CB4-8BDC-B43B16217FDC}" dt="2023-08-24T12:21:12.159" v="15758"/>
          <ac:cxnSpMkLst>
            <pc:docMk/>
            <pc:sldMk cId="979361898" sldId="273"/>
            <ac:cxnSpMk id="73" creationId="{566AF3D5-ADDB-54F5-BB4C-F1A87C8EE3C0}"/>
          </ac:cxnSpMkLst>
        </pc:cxnChg>
        <pc:cxnChg chg="add mod">
          <ac:chgData name="Natakala, Dak" userId="cd0822e5-8453-49cd-b7f2-0e1ddb2cf849" providerId="ADAL" clId="{7B62E480-7981-4CB4-8BDC-B43B16217FDC}" dt="2023-08-24T12:21:12.159" v="15758"/>
          <ac:cxnSpMkLst>
            <pc:docMk/>
            <pc:sldMk cId="979361898" sldId="273"/>
            <ac:cxnSpMk id="74" creationId="{1F6ACB8C-0EE2-9EE6-D506-F419D58F1C3A}"/>
          </ac:cxnSpMkLst>
        </pc:cxnChg>
        <pc:cxnChg chg="add mod">
          <ac:chgData name="Natakala, Dak" userId="cd0822e5-8453-49cd-b7f2-0e1ddb2cf849" providerId="ADAL" clId="{7B62E480-7981-4CB4-8BDC-B43B16217FDC}" dt="2023-08-24T12:21:12.159" v="15758"/>
          <ac:cxnSpMkLst>
            <pc:docMk/>
            <pc:sldMk cId="979361898" sldId="273"/>
            <ac:cxnSpMk id="75" creationId="{002155D8-2B0F-4828-2706-6E48D6192A8C}"/>
          </ac:cxnSpMkLst>
        </pc:cxnChg>
        <pc:cxnChg chg="add mod">
          <ac:chgData name="Natakala, Dak" userId="cd0822e5-8453-49cd-b7f2-0e1ddb2cf849" providerId="ADAL" clId="{7B62E480-7981-4CB4-8BDC-B43B16217FDC}" dt="2023-08-24T12:21:12.159" v="15758"/>
          <ac:cxnSpMkLst>
            <pc:docMk/>
            <pc:sldMk cId="979361898" sldId="273"/>
            <ac:cxnSpMk id="76" creationId="{84F57EAD-C643-B46F-BE11-0F599462F915}"/>
          </ac:cxnSpMkLst>
        </pc:cxnChg>
        <pc:cxnChg chg="add mod">
          <ac:chgData name="Natakala, Dak" userId="cd0822e5-8453-49cd-b7f2-0e1ddb2cf849" providerId="ADAL" clId="{7B62E480-7981-4CB4-8BDC-B43B16217FDC}" dt="2023-08-24T12:21:12.159" v="15758"/>
          <ac:cxnSpMkLst>
            <pc:docMk/>
            <pc:sldMk cId="979361898" sldId="273"/>
            <ac:cxnSpMk id="77" creationId="{F6182C0F-0F86-F092-C289-2FF31934B3A8}"/>
          </ac:cxnSpMkLst>
        </pc:cxnChg>
        <pc:cxnChg chg="add mod">
          <ac:chgData name="Natakala, Dak" userId="cd0822e5-8453-49cd-b7f2-0e1ddb2cf849" providerId="ADAL" clId="{7B62E480-7981-4CB4-8BDC-B43B16217FDC}" dt="2023-08-24T12:21:12.159" v="15758"/>
          <ac:cxnSpMkLst>
            <pc:docMk/>
            <pc:sldMk cId="979361898" sldId="273"/>
            <ac:cxnSpMk id="78" creationId="{1A4E7FEE-FB4C-2036-7FC9-9F3344288076}"/>
          </ac:cxnSpMkLst>
        </pc:cxnChg>
        <pc:cxnChg chg="add mod">
          <ac:chgData name="Natakala, Dak" userId="cd0822e5-8453-49cd-b7f2-0e1ddb2cf849" providerId="ADAL" clId="{7B62E480-7981-4CB4-8BDC-B43B16217FDC}" dt="2023-08-24T12:21:12.159" v="15758"/>
          <ac:cxnSpMkLst>
            <pc:docMk/>
            <pc:sldMk cId="979361898" sldId="273"/>
            <ac:cxnSpMk id="79" creationId="{A4DA3ECE-58D4-FF0B-4FAD-71A26599D519}"/>
          </ac:cxnSpMkLst>
        </pc:cxnChg>
        <pc:cxnChg chg="add mod">
          <ac:chgData name="Natakala, Dak" userId="cd0822e5-8453-49cd-b7f2-0e1ddb2cf849" providerId="ADAL" clId="{7B62E480-7981-4CB4-8BDC-B43B16217FDC}" dt="2023-08-24T12:21:12.159" v="15758"/>
          <ac:cxnSpMkLst>
            <pc:docMk/>
            <pc:sldMk cId="979361898" sldId="273"/>
            <ac:cxnSpMk id="80" creationId="{6C31510C-9951-099B-A76B-F1D38F1FC2CB}"/>
          </ac:cxnSpMkLst>
        </pc:cxnChg>
        <pc:cxnChg chg="add mod">
          <ac:chgData name="Natakala, Dak" userId="cd0822e5-8453-49cd-b7f2-0e1ddb2cf849" providerId="ADAL" clId="{7B62E480-7981-4CB4-8BDC-B43B16217FDC}" dt="2023-08-24T12:21:12.159" v="15758"/>
          <ac:cxnSpMkLst>
            <pc:docMk/>
            <pc:sldMk cId="979361898" sldId="273"/>
            <ac:cxnSpMk id="81" creationId="{E8DDD45E-440E-2EEC-0C29-09EF250CF5FE}"/>
          </ac:cxnSpMkLst>
        </pc:cxnChg>
        <pc:cxnChg chg="add mod">
          <ac:chgData name="Natakala, Dak" userId="cd0822e5-8453-49cd-b7f2-0e1ddb2cf849" providerId="ADAL" clId="{7B62E480-7981-4CB4-8BDC-B43B16217FDC}" dt="2023-08-24T12:21:12.159" v="15758"/>
          <ac:cxnSpMkLst>
            <pc:docMk/>
            <pc:sldMk cId="979361898" sldId="273"/>
            <ac:cxnSpMk id="82" creationId="{CD067B7E-D7BA-0F9E-2396-DCA38ED0AD6D}"/>
          </ac:cxnSpMkLst>
        </pc:cxnChg>
      </pc:sldChg>
      <pc:sldChg chg="new del">
        <pc:chgData name="Natakala, Dak" userId="cd0822e5-8453-49cd-b7f2-0e1ddb2cf849" providerId="ADAL" clId="{7B62E480-7981-4CB4-8BDC-B43B16217FDC}" dt="2023-08-24T11:38:33.991" v="14661" actId="2696"/>
        <pc:sldMkLst>
          <pc:docMk/>
          <pc:sldMk cId="2792747629" sldId="274"/>
        </pc:sldMkLst>
      </pc:sldChg>
      <pc:sldChg chg="delSp modSp del mod">
        <pc:chgData name="Natakala, Dak" userId="cd0822e5-8453-49cd-b7f2-0e1ddb2cf849" providerId="ADAL" clId="{7B62E480-7981-4CB4-8BDC-B43B16217FDC}" dt="2023-08-24T11:35:55.808" v="14156" actId="2696"/>
        <pc:sldMkLst>
          <pc:docMk/>
          <pc:sldMk cId="2852452928" sldId="275"/>
        </pc:sldMkLst>
        <pc:spChg chg="del">
          <ac:chgData name="Natakala, Dak" userId="cd0822e5-8453-49cd-b7f2-0e1ddb2cf849" providerId="ADAL" clId="{7B62E480-7981-4CB4-8BDC-B43B16217FDC}" dt="2023-08-24T11:35:55.805" v="14154" actId="478"/>
          <ac:spMkLst>
            <pc:docMk/>
            <pc:sldMk cId="2852452928" sldId="275"/>
            <ac:spMk id="6" creationId="{526EF65C-B7C5-5128-8353-68A39D1D4383}"/>
          </ac:spMkLst>
        </pc:spChg>
        <pc:spChg chg="mod">
          <ac:chgData name="Natakala, Dak" userId="cd0822e5-8453-49cd-b7f2-0e1ddb2cf849" providerId="ADAL" clId="{7B62E480-7981-4CB4-8BDC-B43B16217FDC}" dt="2023-08-24T11:35:54.981" v="13847" actId="207"/>
          <ac:spMkLst>
            <pc:docMk/>
            <pc:sldMk cId="2852452928" sldId="275"/>
            <ac:spMk id="8" creationId="{EB863270-C30E-09AB-34A9-C53573091723}"/>
          </ac:spMkLst>
        </pc:spChg>
        <pc:spChg chg="mod modVis">
          <ac:chgData name="Natakala, Dak" userId="cd0822e5-8453-49cd-b7f2-0e1ddb2cf849" providerId="ADAL" clId="{7B62E480-7981-4CB4-8BDC-B43B16217FDC}" dt="2023-08-24T11:35:55.073" v="13848" actId="962"/>
          <ac:spMkLst>
            <pc:docMk/>
            <pc:sldMk cId="2852452928" sldId="275"/>
            <ac:spMk id="10" creationId="{94625401-9849-30FE-429E-12449CB8906B}"/>
          </ac:spMkLst>
        </pc:spChg>
        <pc:spChg chg="mod modVis">
          <ac:chgData name="Natakala, Dak" userId="cd0822e5-8453-49cd-b7f2-0e1ddb2cf849" providerId="ADAL" clId="{7B62E480-7981-4CB4-8BDC-B43B16217FDC}" dt="2023-08-24T11:35:55.083" v="13849" actId="962"/>
          <ac:spMkLst>
            <pc:docMk/>
            <pc:sldMk cId="2852452928" sldId="275"/>
            <ac:spMk id="11" creationId="{5A8831DA-6D36-61CE-3C33-DCD7A67F966F}"/>
          </ac:spMkLst>
        </pc:spChg>
        <pc:spChg chg="mod modVis">
          <ac:chgData name="Natakala, Dak" userId="cd0822e5-8453-49cd-b7f2-0e1ddb2cf849" providerId="ADAL" clId="{7B62E480-7981-4CB4-8BDC-B43B16217FDC}" dt="2023-08-24T11:35:55.090" v="13850" actId="962"/>
          <ac:spMkLst>
            <pc:docMk/>
            <pc:sldMk cId="2852452928" sldId="275"/>
            <ac:spMk id="12" creationId="{57F18E58-966E-3FCD-3E8C-8DB97A661808}"/>
          </ac:spMkLst>
        </pc:spChg>
        <pc:spChg chg="mod modVis">
          <ac:chgData name="Natakala, Dak" userId="cd0822e5-8453-49cd-b7f2-0e1ddb2cf849" providerId="ADAL" clId="{7B62E480-7981-4CB4-8BDC-B43B16217FDC}" dt="2023-08-24T11:35:55.096" v="13851" actId="962"/>
          <ac:spMkLst>
            <pc:docMk/>
            <pc:sldMk cId="2852452928" sldId="275"/>
            <ac:spMk id="13" creationId="{F5288746-6A9A-F6A6-791A-0A0AE6292B47}"/>
          </ac:spMkLst>
        </pc:spChg>
        <pc:spChg chg="mod modVis">
          <ac:chgData name="Natakala, Dak" userId="cd0822e5-8453-49cd-b7f2-0e1ddb2cf849" providerId="ADAL" clId="{7B62E480-7981-4CB4-8BDC-B43B16217FDC}" dt="2023-08-24T11:35:55.102" v="13852" actId="962"/>
          <ac:spMkLst>
            <pc:docMk/>
            <pc:sldMk cId="2852452928" sldId="275"/>
            <ac:spMk id="14" creationId="{494F4F88-1513-39C1-578E-24997F315E05}"/>
          </ac:spMkLst>
        </pc:spChg>
        <pc:spChg chg="mod modVis">
          <ac:chgData name="Natakala, Dak" userId="cd0822e5-8453-49cd-b7f2-0e1ddb2cf849" providerId="ADAL" clId="{7B62E480-7981-4CB4-8BDC-B43B16217FDC}" dt="2023-08-24T11:35:55.112" v="13853" actId="962"/>
          <ac:spMkLst>
            <pc:docMk/>
            <pc:sldMk cId="2852452928" sldId="275"/>
            <ac:spMk id="15" creationId="{0D5B2BBD-D0BA-CD9E-3A02-8E2342FBE55B}"/>
          </ac:spMkLst>
        </pc:spChg>
        <pc:spChg chg="mod modVis">
          <ac:chgData name="Natakala, Dak" userId="cd0822e5-8453-49cd-b7f2-0e1ddb2cf849" providerId="ADAL" clId="{7B62E480-7981-4CB4-8BDC-B43B16217FDC}" dt="2023-08-24T11:35:55.124" v="13854" actId="962"/>
          <ac:spMkLst>
            <pc:docMk/>
            <pc:sldMk cId="2852452928" sldId="275"/>
            <ac:spMk id="16" creationId="{48796F7A-CAFA-22A8-35F5-1D9664FB3339}"/>
          </ac:spMkLst>
        </pc:spChg>
        <pc:spChg chg="mod modVis">
          <ac:chgData name="Natakala, Dak" userId="cd0822e5-8453-49cd-b7f2-0e1ddb2cf849" providerId="ADAL" clId="{7B62E480-7981-4CB4-8BDC-B43B16217FDC}" dt="2023-08-24T11:35:55.131" v="13855" actId="962"/>
          <ac:spMkLst>
            <pc:docMk/>
            <pc:sldMk cId="2852452928" sldId="275"/>
            <ac:spMk id="17" creationId="{4901E04A-B7AE-4B54-74E5-4FBFCD435828}"/>
          </ac:spMkLst>
        </pc:spChg>
        <pc:spChg chg="mod modVis">
          <ac:chgData name="Natakala, Dak" userId="cd0822e5-8453-49cd-b7f2-0e1ddb2cf849" providerId="ADAL" clId="{7B62E480-7981-4CB4-8BDC-B43B16217FDC}" dt="2023-08-24T11:35:55.135" v="13856" actId="962"/>
          <ac:spMkLst>
            <pc:docMk/>
            <pc:sldMk cId="2852452928" sldId="275"/>
            <ac:spMk id="18" creationId="{E79BF8E5-9B62-34CD-588F-0966BCD44632}"/>
          </ac:spMkLst>
        </pc:spChg>
        <pc:spChg chg="mod modVis">
          <ac:chgData name="Natakala, Dak" userId="cd0822e5-8453-49cd-b7f2-0e1ddb2cf849" providerId="ADAL" clId="{7B62E480-7981-4CB4-8BDC-B43B16217FDC}" dt="2023-08-24T11:35:55.137" v="13857" actId="962"/>
          <ac:spMkLst>
            <pc:docMk/>
            <pc:sldMk cId="2852452928" sldId="275"/>
            <ac:spMk id="19" creationId="{00B7CC5E-9068-AE10-0A90-51A5A48888DD}"/>
          </ac:spMkLst>
        </pc:spChg>
        <pc:spChg chg="mod modVis">
          <ac:chgData name="Natakala, Dak" userId="cd0822e5-8453-49cd-b7f2-0e1ddb2cf849" providerId="ADAL" clId="{7B62E480-7981-4CB4-8BDC-B43B16217FDC}" dt="2023-08-24T11:35:55.141" v="13858" actId="962"/>
          <ac:spMkLst>
            <pc:docMk/>
            <pc:sldMk cId="2852452928" sldId="275"/>
            <ac:spMk id="20" creationId="{1F30BF43-8851-4A1C-C080-AC1DCCB5CBB9}"/>
          </ac:spMkLst>
        </pc:spChg>
        <pc:spChg chg="mod modVis">
          <ac:chgData name="Natakala, Dak" userId="cd0822e5-8453-49cd-b7f2-0e1ddb2cf849" providerId="ADAL" clId="{7B62E480-7981-4CB4-8BDC-B43B16217FDC}" dt="2023-08-24T11:35:55.143" v="13859" actId="962"/>
          <ac:spMkLst>
            <pc:docMk/>
            <pc:sldMk cId="2852452928" sldId="275"/>
            <ac:spMk id="21" creationId="{DF75F71C-486F-B7D4-E51F-B94C37801F50}"/>
          </ac:spMkLst>
        </pc:spChg>
        <pc:spChg chg="mod modVis">
          <ac:chgData name="Natakala, Dak" userId="cd0822e5-8453-49cd-b7f2-0e1ddb2cf849" providerId="ADAL" clId="{7B62E480-7981-4CB4-8BDC-B43B16217FDC}" dt="2023-08-24T11:35:55.147" v="13860" actId="962"/>
          <ac:spMkLst>
            <pc:docMk/>
            <pc:sldMk cId="2852452928" sldId="275"/>
            <ac:spMk id="22" creationId="{72D73F86-8F75-6394-22A6-D819410DDAB2}"/>
          </ac:spMkLst>
        </pc:spChg>
        <pc:spChg chg="mod modVis">
          <ac:chgData name="Natakala, Dak" userId="cd0822e5-8453-49cd-b7f2-0e1ddb2cf849" providerId="ADAL" clId="{7B62E480-7981-4CB4-8BDC-B43B16217FDC}" dt="2023-08-24T11:35:55.151" v="13861" actId="962"/>
          <ac:spMkLst>
            <pc:docMk/>
            <pc:sldMk cId="2852452928" sldId="275"/>
            <ac:spMk id="23" creationId="{876A994F-1EE4-7C26-52E6-2817970EFFE4}"/>
          </ac:spMkLst>
        </pc:spChg>
        <pc:spChg chg="mod modVis">
          <ac:chgData name="Natakala, Dak" userId="cd0822e5-8453-49cd-b7f2-0e1ddb2cf849" providerId="ADAL" clId="{7B62E480-7981-4CB4-8BDC-B43B16217FDC}" dt="2023-08-24T11:35:55.155" v="13862" actId="962"/>
          <ac:spMkLst>
            <pc:docMk/>
            <pc:sldMk cId="2852452928" sldId="275"/>
            <ac:spMk id="24" creationId="{235A301D-77E3-2788-7F12-D81B633B99E2}"/>
          </ac:spMkLst>
        </pc:spChg>
        <pc:spChg chg="mod modVis">
          <ac:chgData name="Natakala, Dak" userId="cd0822e5-8453-49cd-b7f2-0e1ddb2cf849" providerId="ADAL" clId="{7B62E480-7981-4CB4-8BDC-B43B16217FDC}" dt="2023-08-24T11:35:55.160" v="13863" actId="962"/>
          <ac:spMkLst>
            <pc:docMk/>
            <pc:sldMk cId="2852452928" sldId="275"/>
            <ac:spMk id="25" creationId="{FF3B0B4A-7266-F3F6-76A6-E7849DA671E9}"/>
          </ac:spMkLst>
        </pc:spChg>
        <pc:spChg chg="mod modVis">
          <ac:chgData name="Natakala, Dak" userId="cd0822e5-8453-49cd-b7f2-0e1ddb2cf849" providerId="ADAL" clId="{7B62E480-7981-4CB4-8BDC-B43B16217FDC}" dt="2023-08-24T11:35:55.164" v="13864" actId="962"/>
          <ac:spMkLst>
            <pc:docMk/>
            <pc:sldMk cId="2852452928" sldId="275"/>
            <ac:spMk id="26" creationId="{2F4353BE-5F4B-2E37-42A4-D674F57AC31A}"/>
          </ac:spMkLst>
        </pc:spChg>
        <pc:spChg chg="mod modVis">
          <ac:chgData name="Natakala, Dak" userId="cd0822e5-8453-49cd-b7f2-0e1ddb2cf849" providerId="ADAL" clId="{7B62E480-7981-4CB4-8BDC-B43B16217FDC}" dt="2023-08-24T11:35:55.170" v="13865" actId="962"/>
          <ac:spMkLst>
            <pc:docMk/>
            <pc:sldMk cId="2852452928" sldId="275"/>
            <ac:spMk id="27" creationId="{8FE53AB0-DEB1-836F-C0B8-5A61A589669C}"/>
          </ac:spMkLst>
        </pc:spChg>
        <pc:spChg chg="mod modVis">
          <ac:chgData name="Natakala, Dak" userId="cd0822e5-8453-49cd-b7f2-0e1ddb2cf849" providerId="ADAL" clId="{7B62E480-7981-4CB4-8BDC-B43B16217FDC}" dt="2023-08-24T11:35:55.180" v="13866" actId="962"/>
          <ac:spMkLst>
            <pc:docMk/>
            <pc:sldMk cId="2852452928" sldId="275"/>
            <ac:spMk id="28" creationId="{0115826E-45B1-D836-7AEA-F0C9A944915E}"/>
          </ac:spMkLst>
        </pc:spChg>
        <pc:spChg chg="mod modVis">
          <ac:chgData name="Natakala, Dak" userId="cd0822e5-8453-49cd-b7f2-0e1ddb2cf849" providerId="ADAL" clId="{7B62E480-7981-4CB4-8BDC-B43B16217FDC}" dt="2023-08-24T11:35:55.187" v="13867" actId="962"/>
          <ac:spMkLst>
            <pc:docMk/>
            <pc:sldMk cId="2852452928" sldId="275"/>
            <ac:spMk id="29" creationId="{83459934-536B-0220-2D9B-A8525DE5AB37}"/>
          </ac:spMkLst>
        </pc:spChg>
        <pc:spChg chg="mod modVis">
          <ac:chgData name="Natakala, Dak" userId="cd0822e5-8453-49cd-b7f2-0e1ddb2cf849" providerId="ADAL" clId="{7B62E480-7981-4CB4-8BDC-B43B16217FDC}" dt="2023-08-24T11:35:55.194" v="13868" actId="962"/>
          <ac:spMkLst>
            <pc:docMk/>
            <pc:sldMk cId="2852452928" sldId="275"/>
            <ac:spMk id="30" creationId="{8F763344-80CA-D121-BA6C-668BE981E989}"/>
          </ac:spMkLst>
        </pc:spChg>
        <pc:spChg chg="mod modVis">
          <ac:chgData name="Natakala, Dak" userId="cd0822e5-8453-49cd-b7f2-0e1ddb2cf849" providerId="ADAL" clId="{7B62E480-7981-4CB4-8BDC-B43B16217FDC}" dt="2023-08-24T11:35:55.199" v="13869" actId="962"/>
          <ac:spMkLst>
            <pc:docMk/>
            <pc:sldMk cId="2852452928" sldId="275"/>
            <ac:spMk id="31" creationId="{DFDCF1E3-6D9F-12D8-225F-389D34D27F87}"/>
          </ac:spMkLst>
        </pc:spChg>
        <pc:spChg chg="mod modVis">
          <ac:chgData name="Natakala, Dak" userId="cd0822e5-8453-49cd-b7f2-0e1ddb2cf849" providerId="ADAL" clId="{7B62E480-7981-4CB4-8BDC-B43B16217FDC}" dt="2023-08-24T11:35:55.204" v="13870" actId="962"/>
          <ac:spMkLst>
            <pc:docMk/>
            <pc:sldMk cId="2852452928" sldId="275"/>
            <ac:spMk id="32" creationId="{9A27EB41-BF2E-431E-E39B-55620E3BDE1D}"/>
          </ac:spMkLst>
        </pc:spChg>
        <pc:spChg chg="mod modVis">
          <ac:chgData name="Natakala, Dak" userId="cd0822e5-8453-49cd-b7f2-0e1ddb2cf849" providerId="ADAL" clId="{7B62E480-7981-4CB4-8BDC-B43B16217FDC}" dt="2023-08-24T11:35:55.210" v="13871" actId="962"/>
          <ac:spMkLst>
            <pc:docMk/>
            <pc:sldMk cId="2852452928" sldId="275"/>
            <ac:spMk id="33" creationId="{A08C501B-477D-AB34-29D8-B5F9167AB5D2}"/>
          </ac:spMkLst>
        </pc:spChg>
        <pc:spChg chg="mod modVis">
          <ac:chgData name="Natakala, Dak" userId="cd0822e5-8453-49cd-b7f2-0e1ddb2cf849" providerId="ADAL" clId="{7B62E480-7981-4CB4-8BDC-B43B16217FDC}" dt="2023-08-24T11:35:55.216" v="13872" actId="962"/>
          <ac:spMkLst>
            <pc:docMk/>
            <pc:sldMk cId="2852452928" sldId="275"/>
            <ac:spMk id="34" creationId="{988B56A1-ACB9-6688-2C5C-BA3C065DB97B}"/>
          </ac:spMkLst>
        </pc:spChg>
        <pc:spChg chg="mod modVis">
          <ac:chgData name="Natakala, Dak" userId="cd0822e5-8453-49cd-b7f2-0e1ddb2cf849" providerId="ADAL" clId="{7B62E480-7981-4CB4-8BDC-B43B16217FDC}" dt="2023-08-24T11:35:55.217" v="13873" actId="962"/>
          <ac:spMkLst>
            <pc:docMk/>
            <pc:sldMk cId="2852452928" sldId="275"/>
            <ac:spMk id="35" creationId="{25E3A267-3A9E-85BA-297F-397C4A90CAFD}"/>
          </ac:spMkLst>
        </pc:spChg>
        <pc:spChg chg="mod modVis">
          <ac:chgData name="Natakala, Dak" userId="cd0822e5-8453-49cd-b7f2-0e1ddb2cf849" providerId="ADAL" clId="{7B62E480-7981-4CB4-8BDC-B43B16217FDC}" dt="2023-08-24T11:35:55.221" v="13874" actId="962"/>
          <ac:spMkLst>
            <pc:docMk/>
            <pc:sldMk cId="2852452928" sldId="275"/>
            <ac:spMk id="36" creationId="{56561199-5ED2-7C0D-1442-2F3F44CF702F}"/>
          </ac:spMkLst>
        </pc:spChg>
        <pc:spChg chg="mod modVis">
          <ac:chgData name="Natakala, Dak" userId="cd0822e5-8453-49cd-b7f2-0e1ddb2cf849" providerId="ADAL" clId="{7B62E480-7981-4CB4-8BDC-B43B16217FDC}" dt="2023-08-24T11:35:55.223" v="13875" actId="962"/>
          <ac:spMkLst>
            <pc:docMk/>
            <pc:sldMk cId="2852452928" sldId="275"/>
            <ac:spMk id="37" creationId="{530DBC21-DA79-D9E9-7258-51BD680A8B2A}"/>
          </ac:spMkLst>
        </pc:spChg>
        <pc:spChg chg="mod modVis">
          <ac:chgData name="Natakala, Dak" userId="cd0822e5-8453-49cd-b7f2-0e1ddb2cf849" providerId="ADAL" clId="{7B62E480-7981-4CB4-8BDC-B43B16217FDC}" dt="2023-08-24T11:35:55.229" v="13876" actId="962"/>
          <ac:spMkLst>
            <pc:docMk/>
            <pc:sldMk cId="2852452928" sldId="275"/>
            <ac:spMk id="38" creationId="{DA614B0D-C9E1-2E04-799B-CF17B06CDC2C}"/>
          </ac:spMkLst>
        </pc:spChg>
        <pc:spChg chg="mod modVis">
          <ac:chgData name="Natakala, Dak" userId="cd0822e5-8453-49cd-b7f2-0e1ddb2cf849" providerId="ADAL" clId="{7B62E480-7981-4CB4-8BDC-B43B16217FDC}" dt="2023-08-24T11:35:55.233" v="13877" actId="962"/>
          <ac:spMkLst>
            <pc:docMk/>
            <pc:sldMk cId="2852452928" sldId="275"/>
            <ac:spMk id="39" creationId="{038E2745-AD76-1D49-0AFC-A3253784689B}"/>
          </ac:spMkLst>
        </pc:spChg>
        <pc:spChg chg="mod modVis">
          <ac:chgData name="Natakala, Dak" userId="cd0822e5-8453-49cd-b7f2-0e1ddb2cf849" providerId="ADAL" clId="{7B62E480-7981-4CB4-8BDC-B43B16217FDC}" dt="2023-08-24T11:35:55.239" v="13878" actId="962"/>
          <ac:spMkLst>
            <pc:docMk/>
            <pc:sldMk cId="2852452928" sldId="275"/>
            <ac:spMk id="40" creationId="{A31572E3-51EB-8B34-0C8F-2129D7D4D701}"/>
          </ac:spMkLst>
        </pc:spChg>
        <pc:spChg chg="mod modVis">
          <ac:chgData name="Natakala, Dak" userId="cd0822e5-8453-49cd-b7f2-0e1ddb2cf849" providerId="ADAL" clId="{7B62E480-7981-4CB4-8BDC-B43B16217FDC}" dt="2023-08-24T11:35:55.246" v="13879" actId="962"/>
          <ac:spMkLst>
            <pc:docMk/>
            <pc:sldMk cId="2852452928" sldId="275"/>
            <ac:spMk id="41" creationId="{F0FAC42C-F681-D24A-6AE2-060917CFEF6E}"/>
          </ac:spMkLst>
        </pc:spChg>
        <pc:spChg chg="mod modVis">
          <ac:chgData name="Natakala, Dak" userId="cd0822e5-8453-49cd-b7f2-0e1ddb2cf849" providerId="ADAL" clId="{7B62E480-7981-4CB4-8BDC-B43B16217FDC}" dt="2023-08-24T11:35:55.251" v="13880" actId="962"/>
          <ac:spMkLst>
            <pc:docMk/>
            <pc:sldMk cId="2852452928" sldId="275"/>
            <ac:spMk id="42" creationId="{1DED9F8D-EF8D-D7AE-4F79-22C881A03B3E}"/>
          </ac:spMkLst>
        </pc:spChg>
        <pc:spChg chg="mod modVis">
          <ac:chgData name="Natakala, Dak" userId="cd0822e5-8453-49cd-b7f2-0e1ddb2cf849" providerId="ADAL" clId="{7B62E480-7981-4CB4-8BDC-B43B16217FDC}" dt="2023-08-24T11:35:55.292" v="13881" actId="962"/>
          <ac:spMkLst>
            <pc:docMk/>
            <pc:sldMk cId="2852452928" sldId="275"/>
            <ac:spMk id="43" creationId="{5E3BE895-9C0A-E83F-02B2-9B98003FEF43}"/>
          </ac:spMkLst>
        </pc:spChg>
        <pc:spChg chg="mod modVis">
          <ac:chgData name="Natakala, Dak" userId="cd0822e5-8453-49cd-b7f2-0e1ddb2cf849" providerId="ADAL" clId="{7B62E480-7981-4CB4-8BDC-B43B16217FDC}" dt="2023-08-24T11:35:55.298" v="13882" actId="962"/>
          <ac:spMkLst>
            <pc:docMk/>
            <pc:sldMk cId="2852452928" sldId="275"/>
            <ac:spMk id="44" creationId="{6C06C2BF-0709-D0CA-F423-5B7242D364BA}"/>
          </ac:spMkLst>
        </pc:spChg>
        <pc:spChg chg="mod modVis">
          <ac:chgData name="Natakala, Dak" userId="cd0822e5-8453-49cd-b7f2-0e1ddb2cf849" providerId="ADAL" clId="{7B62E480-7981-4CB4-8BDC-B43B16217FDC}" dt="2023-08-24T11:35:55.304" v="13883" actId="962"/>
          <ac:spMkLst>
            <pc:docMk/>
            <pc:sldMk cId="2852452928" sldId="275"/>
            <ac:spMk id="45" creationId="{A0EF9F34-E71F-60AD-8348-EE89A3E63134}"/>
          </ac:spMkLst>
        </pc:spChg>
        <pc:spChg chg="mod modVis">
          <ac:chgData name="Natakala, Dak" userId="cd0822e5-8453-49cd-b7f2-0e1ddb2cf849" providerId="ADAL" clId="{7B62E480-7981-4CB4-8BDC-B43B16217FDC}" dt="2023-08-24T11:35:55.311" v="13884" actId="962"/>
          <ac:spMkLst>
            <pc:docMk/>
            <pc:sldMk cId="2852452928" sldId="275"/>
            <ac:spMk id="46" creationId="{F243016F-0C46-F5B6-6B8C-F1BF79400103}"/>
          </ac:spMkLst>
        </pc:spChg>
        <pc:spChg chg="mod modVis">
          <ac:chgData name="Natakala, Dak" userId="cd0822e5-8453-49cd-b7f2-0e1ddb2cf849" providerId="ADAL" clId="{7B62E480-7981-4CB4-8BDC-B43B16217FDC}" dt="2023-08-24T11:35:55.315" v="13885" actId="962"/>
          <ac:spMkLst>
            <pc:docMk/>
            <pc:sldMk cId="2852452928" sldId="275"/>
            <ac:spMk id="47" creationId="{CB0DF33E-EF56-636A-1C01-26E4FA6CD75A}"/>
          </ac:spMkLst>
        </pc:spChg>
        <pc:spChg chg="mod modVis">
          <ac:chgData name="Natakala, Dak" userId="cd0822e5-8453-49cd-b7f2-0e1ddb2cf849" providerId="ADAL" clId="{7B62E480-7981-4CB4-8BDC-B43B16217FDC}" dt="2023-08-24T11:35:55.320" v="13886" actId="962"/>
          <ac:spMkLst>
            <pc:docMk/>
            <pc:sldMk cId="2852452928" sldId="275"/>
            <ac:spMk id="48" creationId="{28FD7BC0-AF1C-C47B-A257-44331D8E41E0}"/>
          </ac:spMkLst>
        </pc:spChg>
        <pc:spChg chg="mod modVis">
          <ac:chgData name="Natakala, Dak" userId="cd0822e5-8453-49cd-b7f2-0e1ddb2cf849" providerId="ADAL" clId="{7B62E480-7981-4CB4-8BDC-B43B16217FDC}" dt="2023-08-24T11:35:55.326" v="13887" actId="962"/>
          <ac:spMkLst>
            <pc:docMk/>
            <pc:sldMk cId="2852452928" sldId="275"/>
            <ac:spMk id="49" creationId="{50C83F4C-35B4-9E55-D5F2-69A0D4F456F9}"/>
          </ac:spMkLst>
        </pc:spChg>
        <pc:spChg chg="mod modVis">
          <ac:chgData name="Natakala, Dak" userId="cd0822e5-8453-49cd-b7f2-0e1ddb2cf849" providerId="ADAL" clId="{7B62E480-7981-4CB4-8BDC-B43B16217FDC}" dt="2023-08-24T11:35:55.331" v="13888" actId="962"/>
          <ac:spMkLst>
            <pc:docMk/>
            <pc:sldMk cId="2852452928" sldId="275"/>
            <ac:spMk id="50" creationId="{0CD4AFAF-88F4-95EF-B698-0E77E21AC98F}"/>
          </ac:spMkLst>
        </pc:spChg>
        <pc:spChg chg="mod modVis">
          <ac:chgData name="Natakala, Dak" userId="cd0822e5-8453-49cd-b7f2-0e1ddb2cf849" providerId="ADAL" clId="{7B62E480-7981-4CB4-8BDC-B43B16217FDC}" dt="2023-08-24T11:35:55.332" v="13889" actId="962"/>
          <ac:spMkLst>
            <pc:docMk/>
            <pc:sldMk cId="2852452928" sldId="275"/>
            <ac:spMk id="51" creationId="{E70322E4-F5F7-1D89-CFF6-424D33EA00D5}"/>
          </ac:spMkLst>
        </pc:spChg>
        <pc:spChg chg="mod modVis">
          <ac:chgData name="Natakala, Dak" userId="cd0822e5-8453-49cd-b7f2-0e1ddb2cf849" providerId="ADAL" clId="{7B62E480-7981-4CB4-8BDC-B43B16217FDC}" dt="2023-08-24T11:35:55.337" v="13890" actId="962"/>
          <ac:spMkLst>
            <pc:docMk/>
            <pc:sldMk cId="2852452928" sldId="275"/>
            <ac:spMk id="52" creationId="{FFF617B1-3105-34D3-510B-BC3CC38ACC1D}"/>
          </ac:spMkLst>
        </pc:spChg>
        <pc:spChg chg="mod modVis">
          <ac:chgData name="Natakala, Dak" userId="cd0822e5-8453-49cd-b7f2-0e1ddb2cf849" providerId="ADAL" clId="{7B62E480-7981-4CB4-8BDC-B43B16217FDC}" dt="2023-08-24T11:35:55.339" v="13891" actId="962"/>
          <ac:spMkLst>
            <pc:docMk/>
            <pc:sldMk cId="2852452928" sldId="275"/>
            <ac:spMk id="53" creationId="{A42F643D-0E13-74CE-C241-3CDD6C59E484}"/>
          </ac:spMkLst>
        </pc:spChg>
        <pc:spChg chg="mod modVis">
          <ac:chgData name="Natakala, Dak" userId="cd0822e5-8453-49cd-b7f2-0e1ddb2cf849" providerId="ADAL" clId="{7B62E480-7981-4CB4-8BDC-B43B16217FDC}" dt="2023-08-24T11:35:55.344" v="13892" actId="962"/>
          <ac:spMkLst>
            <pc:docMk/>
            <pc:sldMk cId="2852452928" sldId="275"/>
            <ac:spMk id="54" creationId="{A2481D6E-7451-1D1B-95FD-1BAC9B16388A}"/>
          </ac:spMkLst>
        </pc:spChg>
        <pc:spChg chg="mod modVis">
          <ac:chgData name="Natakala, Dak" userId="cd0822e5-8453-49cd-b7f2-0e1ddb2cf849" providerId="ADAL" clId="{7B62E480-7981-4CB4-8BDC-B43B16217FDC}" dt="2023-08-24T11:35:55.348" v="13893" actId="962"/>
          <ac:spMkLst>
            <pc:docMk/>
            <pc:sldMk cId="2852452928" sldId="275"/>
            <ac:spMk id="55" creationId="{DE92D16E-976C-4F78-D30F-46D7F578A238}"/>
          </ac:spMkLst>
        </pc:spChg>
        <pc:spChg chg="mod modVis">
          <ac:chgData name="Natakala, Dak" userId="cd0822e5-8453-49cd-b7f2-0e1ddb2cf849" providerId="ADAL" clId="{7B62E480-7981-4CB4-8BDC-B43B16217FDC}" dt="2023-08-24T11:35:55.352" v="13894" actId="962"/>
          <ac:spMkLst>
            <pc:docMk/>
            <pc:sldMk cId="2852452928" sldId="275"/>
            <ac:spMk id="56" creationId="{0139A6A8-F2FE-14C5-E3D6-2D0773BA0792}"/>
          </ac:spMkLst>
        </pc:spChg>
        <pc:spChg chg="mod modVis">
          <ac:chgData name="Natakala, Dak" userId="cd0822e5-8453-49cd-b7f2-0e1ddb2cf849" providerId="ADAL" clId="{7B62E480-7981-4CB4-8BDC-B43B16217FDC}" dt="2023-08-24T11:35:55.357" v="13895" actId="962"/>
          <ac:spMkLst>
            <pc:docMk/>
            <pc:sldMk cId="2852452928" sldId="275"/>
            <ac:spMk id="57" creationId="{6565DD44-980E-7B22-EE4C-9BCB35C94B34}"/>
          </ac:spMkLst>
        </pc:spChg>
        <pc:cxnChg chg="del">
          <ac:chgData name="Natakala, Dak" userId="cd0822e5-8453-49cd-b7f2-0e1ddb2cf849" providerId="ADAL" clId="{7B62E480-7981-4CB4-8BDC-B43B16217FDC}" dt="2023-08-24T11:35:55.806" v="14155" actId="478"/>
          <ac:cxnSpMkLst>
            <pc:docMk/>
            <pc:sldMk cId="2852452928" sldId="275"/>
            <ac:cxnSpMk id="7" creationId="{6443B28C-4D55-5913-0DAF-F9C345AE0815}"/>
          </ac:cxnSpMkLst>
        </pc:cxnChg>
      </pc:sldChg>
      <pc:sldChg chg="del">
        <pc:chgData name="Natakala, Dak" userId="cd0822e5-8453-49cd-b7f2-0e1ddb2cf849" providerId="ADAL" clId="{7B62E480-7981-4CB4-8BDC-B43B16217FDC}" dt="2023-08-24T11:35:55.803" v="14153" actId="2696"/>
        <pc:sldMkLst>
          <pc:docMk/>
          <pc:sldMk cId="696941801" sldId="276"/>
        </pc:sldMkLst>
      </pc:sldChg>
      <pc:sldChg chg="del">
        <pc:chgData name="Natakala, Dak" userId="cd0822e5-8453-49cd-b7f2-0e1ddb2cf849" providerId="ADAL" clId="{7B62E480-7981-4CB4-8BDC-B43B16217FDC}" dt="2023-08-24T11:35:55.797" v="14152" actId="2696"/>
        <pc:sldMkLst>
          <pc:docMk/>
          <pc:sldMk cId="152570573" sldId="277"/>
        </pc:sldMkLst>
      </pc:sldChg>
      <pc:sldChg chg="addSp delSp modSp del mod ord replTag">
        <pc:chgData name="Natakala, Dak" userId="cd0822e5-8453-49cd-b7f2-0e1ddb2cf849" providerId="ADAL" clId="{7B62E480-7981-4CB4-8BDC-B43B16217FDC}" dt="2023-08-24T16:12:12.703" v="16768" actId="2696"/>
        <pc:sldMkLst>
          <pc:docMk/>
          <pc:sldMk cId="709629656" sldId="278"/>
        </pc:sldMkLst>
        <pc:spChg chg="del">
          <ac:chgData name="Natakala, Dak" userId="cd0822e5-8453-49cd-b7f2-0e1ddb2cf849" providerId="ADAL" clId="{7B62E480-7981-4CB4-8BDC-B43B16217FDC}" dt="2023-08-24T11:35:55.432" v="13899" actId="478"/>
          <ac:spMkLst>
            <pc:docMk/>
            <pc:sldMk cId="709629656" sldId="278"/>
            <ac:spMk id="2" creationId="{222083B6-1EA7-0818-E405-3DF7855B23B3}"/>
          </ac:spMkLst>
        </pc:spChg>
        <pc:spChg chg="del mod ord replST">
          <ac:chgData name="Natakala, Dak" userId="cd0822e5-8453-49cd-b7f2-0e1ddb2cf849" providerId="ADAL" clId="{7B62E480-7981-4CB4-8BDC-B43B16217FDC}" dt="2023-08-24T11:38:20.346" v="14211" actId="478"/>
          <ac:spMkLst>
            <pc:docMk/>
            <pc:sldMk cId="709629656" sldId="278"/>
            <ac:spMk id="3" creationId="{7EA1A348-1A00-689F-7777-00ED699DB97C}"/>
          </ac:spMkLst>
        </pc:spChg>
        <pc:spChg chg="del">
          <ac:chgData name="Natakala, Dak" userId="cd0822e5-8453-49cd-b7f2-0e1ddb2cf849" providerId="ADAL" clId="{7B62E480-7981-4CB4-8BDC-B43B16217FDC}" dt="2023-08-24T11:35:55.431" v="13898" actId="478"/>
          <ac:spMkLst>
            <pc:docMk/>
            <pc:sldMk cId="709629656" sldId="278"/>
            <ac:spMk id="4" creationId="{63C36171-F655-5516-2E37-8D9760CB2176}"/>
          </ac:spMkLst>
        </pc:spChg>
        <pc:spChg chg="del">
          <ac:chgData name="Natakala, Dak" userId="cd0822e5-8453-49cd-b7f2-0e1ddb2cf849" providerId="ADAL" clId="{7B62E480-7981-4CB4-8BDC-B43B16217FDC}" dt="2023-08-24T11:35:55.431" v="13897" actId="478"/>
          <ac:spMkLst>
            <pc:docMk/>
            <pc:sldMk cId="709629656" sldId="278"/>
            <ac:spMk id="5" creationId="{47D8578F-9A72-FF5D-2268-1365A4D5633D}"/>
          </ac:spMkLst>
        </pc:spChg>
        <pc:spChg chg="del mod ord replST">
          <ac:chgData name="Natakala, Dak" userId="cd0822e5-8453-49cd-b7f2-0e1ddb2cf849" providerId="ADAL" clId="{7B62E480-7981-4CB4-8BDC-B43B16217FDC}" dt="2023-08-24T11:38:20.347" v="14212" actId="478"/>
          <ac:spMkLst>
            <pc:docMk/>
            <pc:sldMk cId="709629656" sldId="278"/>
            <ac:spMk id="6" creationId="{8E2C51B0-7422-3ED4-00EC-350A3307A128}"/>
          </ac:spMkLst>
        </pc:spChg>
        <pc:spChg chg="add mod">
          <ac:chgData name="Natakala, Dak" userId="cd0822e5-8453-49cd-b7f2-0e1ddb2cf849" providerId="ADAL" clId="{7B62E480-7981-4CB4-8BDC-B43B16217FDC}" dt="2023-08-24T16:12:00.061" v="16482" actId="478"/>
          <ac:spMkLst>
            <pc:docMk/>
            <pc:sldMk cId="709629656" sldId="278"/>
            <ac:spMk id="6" creationId="{C348186E-C4E5-29C1-50C0-63D9A2667687}"/>
          </ac:spMkLst>
        </pc:spChg>
        <pc:spChg chg="replST">
          <ac:chgData name="Natakala, Dak" userId="cd0822e5-8453-49cd-b7f2-0e1ddb2cf849" providerId="ADAL" clId="{7B62E480-7981-4CB4-8BDC-B43B16217FDC}" dt="2023-08-24T11:35:55.498" v="13925"/>
          <ac:spMkLst>
            <pc:docMk/>
            <pc:sldMk cId="709629656" sldId="278"/>
            <ac:spMk id="7" creationId="{2DF185A5-962A-DB74-11DE-51DC28B4B3BF}"/>
          </ac:spMkLst>
        </pc:spChg>
        <pc:spChg chg="mod ord replST">
          <ac:chgData name="Natakala, Dak" userId="cd0822e5-8453-49cd-b7f2-0e1ddb2cf849" providerId="ADAL" clId="{7B62E480-7981-4CB4-8BDC-B43B16217FDC}" dt="2023-08-24T16:12:00.218" v="16581"/>
          <ac:spMkLst>
            <pc:docMk/>
            <pc:sldMk cId="709629656" sldId="278"/>
            <ac:spMk id="7" creationId="{951A5185-497C-128B-FF08-3E9C1E4A7165}"/>
          </ac:spMkLst>
        </pc:spChg>
        <pc:spChg chg="replST">
          <ac:chgData name="Natakala, Dak" userId="cd0822e5-8453-49cd-b7f2-0e1ddb2cf849" providerId="ADAL" clId="{7B62E480-7981-4CB4-8BDC-B43B16217FDC}" dt="2023-08-24T11:35:55.501" v="13927"/>
          <ac:spMkLst>
            <pc:docMk/>
            <pc:sldMk cId="709629656" sldId="278"/>
            <ac:spMk id="8" creationId="{9FA84A4B-3CAC-D06E-E32A-BD9D9D0FC5EC}"/>
          </ac:spMkLst>
        </pc:spChg>
        <pc:spChg chg="del">
          <ac:chgData name="Natakala, Dak" userId="cd0822e5-8453-49cd-b7f2-0e1ddb2cf849" providerId="ADAL" clId="{7B62E480-7981-4CB4-8BDC-B43B16217FDC}" dt="2023-08-24T16:12:00.083" v="16491" actId="478"/>
          <ac:spMkLst>
            <pc:docMk/>
            <pc:sldMk cId="709629656" sldId="278"/>
            <ac:spMk id="8" creationId="{B8E17D81-FA70-C627-B71D-3CF1D066AA00}"/>
          </ac:spMkLst>
        </pc:spChg>
        <pc:spChg chg="replST">
          <ac:chgData name="Natakala, Dak" userId="cd0822e5-8453-49cd-b7f2-0e1ddb2cf849" providerId="ADAL" clId="{7B62E480-7981-4CB4-8BDC-B43B16217FDC}" dt="2023-08-24T11:35:55.503" v="13930"/>
          <ac:spMkLst>
            <pc:docMk/>
            <pc:sldMk cId="709629656" sldId="278"/>
            <ac:spMk id="9" creationId="{E4B37B3B-B08D-E703-F414-5B1683440A8C}"/>
          </ac:spMkLst>
        </pc:spChg>
        <pc:spChg chg="del">
          <ac:chgData name="Natakala, Dak" userId="cd0822e5-8453-49cd-b7f2-0e1ddb2cf849" providerId="ADAL" clId="{7B62E480-7981-4CB4-8BDC-B43B16217FDC}" dt="2023-08-24T16:12:00.082" v="16489" actId="478"/>
          <ac:spMkLst>
            <pc:docMk/>
            <pc:sldMk cId="709629656" sldId="278"/>
            <ac:spMk id="9" creationId="{F52EEC8D-9896-3CB0-80A8-48B8CCE94FCE}"/>
          </ac:spMkLst>
        </pc:spChg>
        <pc:spChg chg="del">
          <ac:chgData name="Natakala, Dak" userId="cd0822e5-8453-49cd-b7f2-0e1ddb2cf849" providerId="ADAL" clId="{7B62E480-7981-4CB4-8BDC-B43B16217FDC}" dt="2023-08-24T16:12:00.083" v="16490" actId="478"/>
          <ac:spMkLst>
            <pc:docMk/>
            <pc:sldMk cId="709629656" sldId="278"/>
            <ac:spMk id="10" creationId="{14EEC663-A41C-8F28-A481-FCD83076A617}"/>
          </ac:spMkLst>
        </pc:spChg>
        <pc:spChg chg="del mod ord replST">
          <ac:chgData name="Natakala, Dak" userId="cd0822e5-8453-49cd-b7f2-0e1ddb2cf849" providerId="ADAL" clId="{7B62E480-7981-4CB4-8BDC-B43B16217FDC}" dt="2023-08-24T11:38:20.348" v="14213" actId="478"/>
          <ac:spMkLst>
            <pc:docMk/>
            <pc:sldMk cId="709629656" sldId="278"/>
            <ac:spMk id="10" creationId="{27BE6BB9-8EA4-03BD-B909-D836842A815A}"/>
          </ac:spMkLst>
        </pc:spChg>
        <pc:spChg chg="mod ord replST">
          <ac:chgData name="Natakala, Dak" userId="cd0822e5-8453-49cd-b7f2-0e1ddb2cf849" providerId="ADAL" clId="{7B62E480-7981-4CB4-8BDC-B43B16217FDC}" dt="2023-08-24T16:12:00.219" v="16582"/>
          <ac:spMkLst>
            <pc:docMk/>
            <pc:sldMk cId="709629656" sldId="278"/>
            <ac:spMk id="11" creationId="{0FEF2892-2145-48F3-4622-B12A5A7EA2FB}"/>
          </ac:spMkLst>
        </pc:spChg>
        <pc:spChg chg="replST">
          <ac:chgData name="Natakala, Dak" userId="cd0822e5-8453-49cd-b7f2-0e1ddb2cf849" providerId="ADAL" clId="{7B62E480-7981-4CB4-8BDC-B43B16217FDC}" dt="2023-08-24T11:35:55.512" v="13942"/>
          <ac:spMkLst>
            <pc:docMk/>
            <pc:sldMk cId="709629656" sldId="278"/>
            <ac:spMk id="11" creationId="{BE70663D-C12A-EEEA-0B31-E706EFB2E779}"/>
          </ac:spMkLst>
        </pc:spChg>
        <pc:spChg chg="replST">
          <ac:chgData name="Natakala, Dak" userId="cd0822e5-8453-49cd-b7f2-0e1ddb2cf849" providerId="ADAL" clId="{7B62E480-7981-4CB4-8BDC-B43B16217FDC}" dt="2023-08-24T11:35:55.515" v="13944"/>
          <ac:spMkLst>
            <pc:docMk/>
            <pc:sldMk cId="709629656" sldId="278"/>
            <ac:spMk id="12" creationId="{4DB84AE0-3BAC-DC1E-27CA-AF0DB4987DC1}"/>
          </ac:spMkLst>
        </pc:spChg>
        <pc:spChg chg="replST">
          <ac:chgData name="Natakala, Dak" userId="cd0822e5-8453-49cd-b7f2-0e1ddb2cf849" providerId="ADAL" clId="{7B62E480-7981-4CB4-8BDC-B43B16217FDC}" dt="2023-08-24T16:12:00.159" v="16520"/>
          <ac:spMkLst>
            <pc:docMk/>
            <pc:sldMk cId="709629656" sldId="278"/>
            <ac:spMk id="12" creationId="{EC657AC6-EF2A-338D-6A78-865E4AEABF1F}"/>
          </ac:spMkLst>
        </pc:spChg>
        <pc:spChg chg="replST">
          <ac:chgData name="Natakala, Dak" userId="cd0822e5-8453-49cd-b7f2-0e1ddb2cf849" providerId="ADAL" clId="{7B62E480-7981-4CB4-8BDC-B43B16217FDC}" dt="2023-08-24T11:35:55.517" v="13947"/>
          <ac:spMkLst>
            <pc:docMk/>
            <pc:sldMk cId="709629656" sldId="278"/>
            <ac:spMk id="13" creationId="{5203C46B-DDEA-D6E2-63F8-F4B373F0EC54}"/>
          </ac:spMkLst>
        </pc:spChg>
        <pc:spChg chg="mod ord replST">
          <ac:chgData name="Natakala, Dak" userId="cd0822e5-8453-49cd-b7f2-0e1ddb2cf849" providerId="ADAL" clId="{7B62E480-7981-4CB4-8BDC-B43B16217FDC}" dt="2023-08-24T16:12:00.219" v="16583"/>
          <ac:spMkLst>
            <pc:docMk/>
            <pc:sldMk cId="709629656" sldId="278"/>
            <ac:spMk id="13" creationId="{E0B1EBB4-511A-1835-A799-C4880B91AA31}"/>
          </ac:spMkLst>
        </pc:spChg>
        <pc:spChg chg="del mod ord replST">
          <ac:chgData name="Natakala, Dak" userId="cd0822e5-8453-49cd-b7f2-0e1ddb2cf849" providerId="ADAL" clId="{7B62E480-7981-4CB4-8BDC-B43B16217FDC}" dt="2023-08-24T11:38:20.349" v="14214" actId="478"/>
          <ac:spMkLst>
            <pc:docMk/>
            <pc:sldMk cId="709629656" sldId="278"/>
            <ac:spMk id="14" creationId="{87EF7D43-A3BD-0F38-8C5E-7060730DB3C0}"/>
          </ac:spMkLst>
        </pc:spChg>
        <pc:spChg chg="replST">
          <ac:chgData name="Natakala, Dak" userId="cd0822e5-8453-49cd-b7f2-0e1ddb2cf849" providerId="ADAL" clId="{7B62E480-7981-4CB4-8BDC-B43B16217FDC}" dt="2023-08-24T16:12:00.169" v="16532"/>
          <ac:spMkLst>
            <pc:docMk/>
            <pc:sldMk cId="709629656" sldId="278"/>
            <ac:spMk id="14" creationId="{AB63C0C0-2EBA-C00B-E48A-C528F07B02BF}"/>
          </ac:spMkLst>
        </pc:spChg>
        <pc:spChg chg="mod ord replST">
          <ac:chgData name="Natakala, Dak" userId="cd0822e5-8453-49cd-b7f2-0e1ddb2cf849" providerId="ADAL" clId="{7B62E480-7981-4CB4-8BDC-B43B16217FDC}" dt="2023-08-24T16:12:00.220" v="16584"/>
          <ac:spMkLst>
            <pc:docMk/>
            <pc:sldMk cId="709629656" sldId="278"/>
            <ac:spMk id="15" creationId="{683A7214-69FF-51BC-29E8-916CFA7F0207}"/>
          </ac:spMkLst>
        </pc:spChg>
        <pc:spChg chg="replST">
          <ac:chgData name="Natakala, Dak" userId="cd0822e5-8453-49cd-b7f2-0e1ddb2cf849" providerId="ADAL" clId="{7B62E480-7981-4CB4-8BDC-B43B16217FDC}" dt="2023-08-24T11:35:55.526" v="13959"/>
          <ac:spMkLst>
            <pc:docMk/>
            <pc:sldMk cId="709629656" sldId="278"/>
            <ac:spMk id="15" creationId="{DE2106CE-4C5D-078B-2778-880B1A72E6BC}"/>
          </ac:spMkLst>
        </pc:spChg>
        <pc:spChg chg="replST">
          <ac:chgData name="Natakala, Dak" userId="cd0822e5-8453-49cd-b7f2-0e1ddb2cf849" providerId="ADAL" clId="{7B62E480-7981-4CB4-8BDC-B43B16217FDC}" dt="2023-08-24T11:35:55.528" v="13961"/>
          <ac:spMkLst>
            <pc:docMk/>
            <pc:sldMk cId="709629656" sldId="278"/>
            <ac:spMk id="16" creationId="{3C5FFEF5-3C66-662C-294D-329D71F90322}"/>
          </ac:spMkLst>
        </pc:spChg>
        <pc:spChg chg="replST">
          <ac:chgData name="Natakala, Dak" userId="cd0822e5-8453-49cd-b7f2-0e1ddb2cf849" providerId="ADAL" clId="{7B62E480-7981-4CB4-8BDC-B43B16217FDC}" dt="2023-08-24T16:12:00.181" v="16544"/>
          <ac:spMkLst>
            <pc:docMk/>
            <pc:sldMk cId="709629656" sldId="278"/>
            <ac:spMk id="16" creationId="{AA4E0C76-0266-999E-7CD2-C422DC7E3B5E}"/>
          </ac:spMkLst>
        </pc:spChg>
        <pc:spChg chg="replST">
          <ac:chgData name="Natakala, Dak" userId="cd0822e5-8453-49cd-b7f2-0e1ddb2cf849" providerId="ADAL" clId="{7B62E480-7981-4CB4-8BDC-B43B16217FDC}" dt="2023-08-24T11:35:55.530" v="13964"/>
          <ac:spMkLst>
            <pc:docMk/>
            <pc:sldMk cId="709629656" sldId="278"/>
            <ac:spMk id="17" creationId="{C9EEC22C-8BED-2074-BB18-1D98A4EA93B8}"/>
          </ac:spMkLst>
        </pc:spChg>
        <pc:spChg chg="mod ord replST">
          <ac:chgData name="Natakala, Dak" userId="cd0822e5-8453-49cd-b7f2-0e1ddb2cf849" providerId="ADAL" clId="{7B62E480-7981-4CB4-8BDC-B43B16217FDC}" dt="2023-08-24T16:12:00.221" v="16585"/>
          <ac:spMkLst>
            <pc:docMk/>
            <pc:sldMk cId="709629656" sldId="278"/>
            <ac:spMk id="17" creationId="{FE30A983-6BD8-106F-8341-79055F497D0B}"/>
          </ac:spMkLst>
        </pc:spChg>
        <pc:spChg chg="replST">
          <ac:chgData name="Natakala, Dak" userId="cd0822e5-8453-49cd-b7f2-0e1ddb2cf849" providerId="ADAL" clId="{7B62E480-7981-4CB4-8BDC-B43B16217FDC}" dt="2023-08-24T16:12:00.193" v="16556"/>
          <ac:spMkLst>
            <pc:docMk/>
            <pc:sldMk cId="709629656" sldId="278"/>
            <ac:spMk id="18" creationId="{F8BE9EBF-C479-6B69-E16B-AAC7B4E89EA4}"/>
          </ac:spMkLst>
        </pc:spChg>
        <pc:spChg chg="mod ord replST">
          <ac:chgData name="Natakala, Dak" userId="cd0822e5-8453-49cd-b7f2-0e1ddb2cf849" providerId="ADAL" clId="{7B62E480-7981-4CB4-8BDC-B43B16217FDC}" dt="2023-08-24T16:12:00.222" v="16586"/>
          <ac:spMkLst>
            <pc:docMk/>
            <pc:sldMk cId="709629656" sldId="278"/>
            <ac:spMk id="19" creationId="{8E96BDBB-891F-9838-725B-7547295837E8}"/>
          </ac:spMkLst>
        </pc:spChg>
        <pc:spChg chg="replST">
          <ac:chgData name="Natakala, Dak" userId="cd0822e5-8453-49cd-b7f2-0e1ddb2cf849" providerId="ADAL" clId="{7B62E480-7981-4CB4-8BDC-B43B16217FDC}" dt="2023-08-24T16:12:00.203" v="16568"/>
          <ac:spMkLst>
            <pc:docMk/>
            <pc:sldMk cId="709629656" sldId="278"/>
            <ac:spMk id="20" creationId="{C4C1B332-8788-DF14-7B2B-C42DA4E25525}"/>
          </ac:spMkLst>
        </pc:spChg>
        <pc:spChg chg="mod ord replST">
          <ac:chgData name="Natakala, Dak" userId="cd0822e5-8453-49cd-b7f2-0e1ddb2cf849" providerId="ADAL" clId="{7B62E480-7981-4CB4-8BDC-B43B16217FDC}" dt="2023-08-24T16:12:00.222" v="16587"/>
          <ac:spMkLst>
            <pc:docMk/>
            <pc:sldMk cId="709629656" sldId="278"/>
            <ac:spMk id="21" creationId="{8D1DECA1-E186-4F94-CE25-8C2F8B79BA28}"/>
          </ac:spMkLst>
        </pc:spChg>
        <pc:spChg chg="add mod">
          <ac:chgData name="Natakala, Dak" userId="cd0822e5-8453-49cd-b7f2-0e1ddb2cf849" providerId="ADAL" clId="{7B62E480-7981-4CB4-8BDC-B43B16217FDC}" dt="2023-08-24T11:38:20.346" v="14211" actId="478"/>
          <ac:spMkLst>
            <pc:docMk/>
            <pc:sldMk cId="709629656" sldId="278"/>
            <ac:spMk id="22" creationId="{2EDC2080-C9B1-6139-45D1-FD4436EEC082}"/>
          </ac:spMkLst>
        </pc:spChg>
        <pc:spChg chg="replST">
          <ac:chgData name="Natakala, Dak" userId="cd0822e5-8453-49cd-b7f2-0e1ddb2cf849" providerId="ADAL" clId="{7B62E480-7981-4CB4-8BDC-B43B16217FDC}" dt="2023-08-24T16:12:00.214" v="16580"/>
          <ac:spMkLst>
            <pc:docMk/>
            <pc:sldMk cId="709629656" sldId="278"/>
            <ac:spMk id="22" creationId="{E3D036C5-39BA-FC1B-E6A4-4AD04575A7B8}"/>
          </ac:spMkLst>
        </pc:spChg>
        <pc:spChg chg="del mod ord replST">
          <ac:chgData name="Natakala, Dak" userId="cd0822e5-8453-49cd-b7f2-0e1ddb2cf849" providerId="ADAL" clId="{7B62E480-7981-4CB4-8BDC-B43B16217FDC}" dt="2023-08-24T16:12:00.061" v="16482" actId="478"/>
          <ac:spMkLst>
            <pc:docMk/>
            <pc:sldMk cId="709629656" sldId="278"/>
            <ac:spMk id="23" creationId="{320D5BC2-5055-E9C0-EAF6-F44E8A16356A}"/>
          </ac:spMkLst>
        </pc:spChg>
        <pc:spChg chg="del">
          <ac:chgData name="Natakala, Dak" userId="cd0822e5-8453-49cd-b7f2-0e1ddb2cf849" providerId="ADAL" clId="{7B62E480-7981-4CB4-8BDC-B43B16217FDC}" dt="2023-08-24T11:38:20.364" v="14217" actId="478"/>
          <ac:spMkLst>
            <pc:docMk/>
            <pc:sldMk cId="709629656" sldId="278"/>
            <ac:spMk id="24" creationId="{96B56DC4-6637-46BF-538B-3CF91C7186F4}"/>
          </ac:spMkLst>
        </pc:spChg>
        <pc:spChg chg="del">
          <ac:chgData name="Natakala, Dak" userId="cd0822e5-8453-49cd-b7f2-0e1ddb2cf849" providerId="ADAL" clId="{7B62E480-7981-4CB4-8BDC-B43B16217FDC}" dt="2023-08-24T11:38:20.363" v="14215" actId="478"/>
          <ac:spMkLst>
            <pc:docMk/>
            <pc:sldMk cId="709629656" sldId="278"/>
            <ac:spMk id="25" creationId="{C612B1D2-9DFA-CEC7-D063-A45A334C8477}"/>
          </ac:spMkLst>
        </pc:spChg>
        <pc:spChg chg="del">
          <ac:chgData name="Natakala, Dak" userId="cd0822e5-8453-49cd-b7f2-0e1ddb2cf849" providerId="ADAL" clId="{7B62E480-7981-4CB4-8BDC-B43B16217FDC}" dt="2023-08-24T11:38:20.363" v="14216" actId="478"/>
          <ac:spMkLst>
            <pc:docMk/>
            <pc:sldMk cId="709629656" sldId="278"/>
            <ac:spMk id="26" creationId="{4A5D8A99-49B3-3FE0-7C71-549F45D53E17}"/>
          </ac:spMkLst>
        </pc:spChg>
        <pc:spChg chg="del mod ord replST">
          <ac:chgData name="Natakala, Dak" userId="cd0822e5-8453-49cd-b7f2-0e1ddb2cf849" providerId="ADAL" clId="{7B62E480-7981-4CB4-8BDC-B43B16217FDC}" dt="2023-08-24T16:12:00.062" v="16483" actId="478"/>
          <ac:spMkLst>
            <pc:docMk/>
            <pc:sldMk cId="709629656" sldId="278"/>
            <ac:spMk id="28" creationId="{8080003F-7D63-8C66-05F1-B258D837935B}"/>
          </ac:spMkLst>
        </pc:spChg>
        <pc:spChg chg="replST">
          <ac:chgData name="Natakala, Dak" userId="cd0822e5-8453-49cd-b7f2-0e1ddb2cf849" providerId="ADAL" clId="{7B62E480-7981-4CB4-8BDC-B43B16217FDC}" dt="2023-08-24T11:38:20.398" v="14247"/>
          <ac:spMkLst>
            <pc:docMk/>
            <pc:sldMk cId="709629656" sldId="278"/>
            <ac:spMk id="29" creationId="{80C51B37-1328-DE24-F7EC-3B0FD830B395}"/>
          </ac:spMkLst>
        </pc:spChg>
        <pc:spChg chg="del mod ord replST">
          <ac:chgData name="Natakala, Dak" userId="cd0822e5-8453-49cd-b7f2-0e1ddb2cf849" providerId="ADAL" clId="{7B62E480-7981-4CB4-8BDC-B43B16217FDC}" dt="2023-08-24T16:12:00.062" v="16484" actId="478"/>
          <ac:spMkLst>
            <pc:docMk/>
            <pc:sldMk cId="709629656" sldId="278"/>
            <ac:spMk id="30" creationId="{050E6DC2-1896-0039-644A-E3E64D53B426}"/>
          </ac:spMkLst>
        </pc:spChg>
        <pc:spChg chg="replST">
          <ac:chgData name="Natakala, Dak" userId="cd0822e5-8453-49cd-b7f2-0e1ddb2cf849" providerId="ADAL" clId="{7B62E480-7981-4CB4-8BDC-B43B16217FDC}" dt="2023-08-24T11:38:20.407" v="14259"/>
          <ac:spMkLst>
            <pc:docMk/>
            <pc:sldMk cId="709629656" sldId="278"/>
            <ac:spMk id="31" creationId="{A3DF4054-81E6-5980-3815-A43B68A5A08D}"/>
          </ac:spMkLst>
        </pc:spChg>
        <pc:spChg chg="del mod ord replST">
          <ac:chgData name="Natakala, Dak" userId="cd0822e5-8453-49cd-b7f2-0e1ddb2cf849" providerId="ADAL" clId="{7B62E480-7981-4CB4-8BDC-B43B16217FDC}" dt="2023-08-24T16:12:00.063" v="16485" actId="478"/>
          <ac:spMkLst>
            <pc:docMk/>
            <pc:sldMk cId="709629656" sldId="278"/>
            <ac:spMk id="32" creationId="{9BCC49D0-66E5-AD19-C290-9256DDA3D890}"/>
          </ac:spMkLst>
        </pc:spChg>
        <pc:spChg chg="replST">
          <ac:chgData name="Natakala, Dak" userId="cd0822e5-8453-49cd-b7f2-0e1ddb2cf849" providerId="ADAL" clId="{7B62E480-7981-4CB4-8BDC-B43B16217FDC}" dt="2023-08-24T11:38:20.418" v="14271"/>
          <ac:spMkLst>
            <pc:docMk/>
            <pc:sldMk cId="709629656" sldId="278"/>
            <ac:spMk id="33" creationId="{17B26C1C-8A86-999C-DAFA-977FAF4B0A48}"/>
          </ac:spMkLst>
        </pc:spChg>
        <pc:spChg chg="del mod ord replST">
          <ac:chgData name="Natakala, Dak" userId="cd0822e5-8453-49cd-b7f2-0e1ddb2cf849" providerId="ADAL" clId="{7B62E480-7981-4CB4-8BDC-B43B16217FDC}" dt="2023-08-24T16:12:00.064" v="16486" actId="478"/>
          <ac:spMkLst>
            <pc:docMk/>
            <pc:sldMk cId="709629656" sldId="278"/>
            <ac:spMk id="34" creationId="{65A3B028-2DE4-43C1-F175-A7944A61F7BA}"/>
          </ac:spMkLst>
        </pc:spChg>
        <pc:spChg chg="replST">
          <ac:chgData name="Natakala, Dak" userId="cd0822e5-8453-49cd-b7f2-0e1ddb2cf849" providerId="ADAL" clId="{7B62E480-7981-4CB4-8BDC-B43B16217FDC}" dt="2023-08-24T11:38:20.429" v="14283"/>
          <ac:spMkLst>
            <pc:docMk/>
            <pc:sldMk cId="709629656" sldId="278"/>
            <ac:spMk id="35" creationId="{42CFAB0D-9728-E0A3-8BAA-4B524765A997}"/>
          </ac:spMkLst>
        </pc:spChg>
        <pc:spChg chg="del mod ord replST">
          <ac:chgData name="Natakala, Dak" userId="cd0822e5-8453-49cd-b7f2-0e1ddb2cf849" providerId="ADAL" clId="{7B62E480-7981-4CB4-8BDC-B43B16217FDC}" dt="2023-08-24T16:12:00.065" v="16487" actId="478"/>
          <ac:spMkLst>
            <pc:docMk/>
            <pc:sldMk cId="709629656" sldId="278"/>
            <ac:spMk id="36" creationId="{F7D46BC7-8592-D242-134E-E0313B80783F}"/>
          </ac:spMkLst>
        </pc:spChg>
        <pc:spChg chg="replST">
          <ac:chgData name="Natakala, Dak" userId="cd0822e5-8453-49cd-b7f2-0e1ddb2cf849" providerId="ADAL" clId="{7B62E480-7981-4CB4-8BDC-B43B16217FDC}" dt="2023-08-24T11:38:20.440" v="14295"/>
          <ac:spMkLst>
            <pc:docMk/>
            <pc:sldMk cId="709629656" sldId="278"/>
            <ac:spMk id="37" creationId="{8A3999F3-5A10-E4BF-899C-D0C18E71BEE1}"/>
          </ac:spMkLst>
        </pc:spChg>
        <pc:spChg chg="del mod ord replST">
          <ac:chgData name="Natakala, Dak" userId="cd0822e5-8453-49cd-b7f2-0e1ddb2cf849" providerId="ADAL" clId="{7B62E480-7981-4CB4-8BDC-B43B16217FDC}" dt="2023-08-24T16:12:00.065" v="16488" actId="478"/>
          <ac:spMkLst>
            <pc:docMk/>
            <pc:sldMk cId="709629656" sldId="278"/>
            <ac:spMk id="38" creationId="{0E6A5E83-5F51-135A-C53C-FA99D8111ADB}"/>
          </ac:spMkLst>
        </pc:spChg>
        <pc:spChg chg="replST">
          <ac:chgData name="Natakala, Dak" userId="cd0822e5-8453-49cd-b7f2-0e1ddb2cf849" providerId="ADAL" clId="{7B62E480-7981-4CB4-8BDC-B43B16217FDC}" dt="2023-08-24T11:38:20.450" v="14307"/>
          <ac:spMkLst>
            <pc:docMk/>
            <pc:sldMk cId="709629656" sldId="278"/>
            <ac:spMk id="39" creationId="{FE26D33E-8490-A807-194F-46BEAF47EC2D}"/>
          </ac:spMkLst>
        </pc:spChg>
      </pc:sldChg>
      <pc:sldChg chg="delSp modSp del mod replTag">
        <pc:chgData name="Natakala, Dak" userId="cd0822e5-8453-49cd-b7f2-0e1ddb2cf849" providerId="ADAL" clId="{7B62E480-7981-4CB4-8BDC-B43B16217FDC}" dt="2023-08-24T11:38:19.913" v="14158" actId="2696"/>
        <pc:sldMkLst>
          <pc:docMk/>
          <pc:sldMk cId="1509187300" sldId="279"/>
        </pc:sldMkLst>
        <pc:spChg chg="del">
          <ac:chgData name="Natakala, Dak" userId="cd0822e5-8453-49cd-b7f2-0e1ddb2cf849" providerId="ADAL" clId="{7B62E480-7981-4CB4-8BDC-B43B16217FDC}" dt="2023-08-24T11:35:55.440" v="13903" actId="478"/>
          <ac:spMkLst>
            <pc:docMk/>
            <pc:sldMk cId="1509187300" sldId="279"/>
            <ac:spMk id="2" creationId="{80540ACF-1364-212C-3B90-855526C23EF4}"/>
          </ac:spMkLst>
        </pc:spChg>
        <pc:spChg chg="mod ord replST">
          <ac:chgData name="Natakala, Dak" userId="cd0822e5-8453-49cd-b7f2-0e1ddb2cf849" providerId="ADAL" clId="{7B62E480-7981-4CB4-8BDC-B43B16217FDC}" dt="2023-08-24T11:35:55.603" v="14023"/>
          <ac:spMkLst>
            <pc:docMk/>
            <pc:sldMk cId="1509187300" sldId="279"/>
            <ac:spMk id="3" creationId="{7395C96E-01D2-34EF-307A-53EBDE4CCAED}"/>
          </ac:spMkLst>
        </pc:spChg>
        <pc:spChg chg="del">
          <ac:chgData name="Natakala, Dak" userId="cd0822e5-8453-49cd-b7f2-0e1ddb2cf849" providerId="ADAL" clId="{7B62E480-7981-4CB4-8BDC-B43B16217FDC}" dt="2023-08-24T11:35:55.439" v="13902" actId="478"/>
          <ac:spMkLst>
            <pc:docMk/>
            <pc:sldMk cId="1509187300" sldId="279"/>
            <ac:spMk id="4" creationId="{9F6D71C9-4AE5-8632-E2BE-738D374CAEDD}"/>
          </ac:spMkLst>
        </pc:spChg>
        <pc:spChg chg="del">
          <ac:chgData name="Natakala, Dak" userId="cd0822e5-8453-49cd-b7f2-0e1ddb2cf849" providerId="ADAL" clId="{7B62E480-7981-4CB4-8BDC-B43B16217FDC}" dt="2023-08-24T11:35:55.439" v="13901" actId="478"/>
          <ac:spMkLst>
            <pc:docMk/>
            <pc:sldMk cId="1509187300" sldId="279"/>
            <ac:spMk id="5" creationId="{4BC66477-ED89-9A9D-E173-A00C4D956724}"/>
          </ac:spMkLst>
        </pc:spChg>
        <pc:spChg chg="mod ord replST">
          <ac:chgData name="Natakala, Dak" userId="cd0822e5-8453-49cd-b7f2-0e1ddb2cf849" providerId="ADAL" clId="{7B62E480-7981-4CB4-8BDC-B43B16217FDC}" dt="2023-08-24T11:35:55.603" v="14024"/>
          <ac:spMkLst>
            <pc:docMk/>
            <pc:sldMk cId="1509187300" sldId="279"/>
            <ac:spMk id="6" creationId="{47058D98-B29F-0B9B-238C-C69FD677AB02}"/>
          </ac:spMkLst>
        </pc:spChg>
        <pc:spChg chg="replST">
          <ac:chgData name="Natakala, Dak" userId="cd0822e5-8453-49cd-b7f2-0e1ddb2cf849" providerId="ADAL" clId="{7B62E480-7981-4CB4-8BDC-B43B16217FDC}" dt="2023-08-24T11:35:55.557" v="13982"/>
          <ac:spMkLst>
            <pc:docMk/>
            <pc:sldMk cId="1509187300" sldId="279"/>
            <ac:spMk id="7" creationId="{3447A94B-8626-F3DA-2EDF-C5ABC95E04B7}"/>
          </ac:spMkLst>
        </pc:spChg>
        <pc:spChg chg="replST">
          <ac:chgData name="Natakala, Dak" userId="cd0822e5-8453-49cd-b7f2-0e1ddb2cf849" providerId="ADAL" clId="{7B62E480-7981-4CB4-8BDC-B43B16217FDC}" dt="2023-08-24T11:35:55.560" v="13984"/>
          <ac:spMkLst>
            <pc:docMk/>
            <pc:sldMk cId="1509187300" sldId="279"/>
            <ac:spMk id="8" creationId="{750CD097-11ED-9667-6D59-C90B73678CF3}"/>
          </ac:spMkLst>
        </pc:spChg>
        <pc:spChg chg="replST">
          <ac:chgData name="Natakala, Dak" userId="cd0822e5-8453-49cd-b7f2-0e1ddb2cf849" providerId="ADAL" clId="{7B62E480-7981-4CB4-8BDC-B43B16217FDC}" dt="2023-08-24T11:35:55.562" v="13987"/>
          <ac:spMkLst>
            <pc:docMk/>
            <pc:sldMk cId="1509187300" sldId="279"/>
            <ac:spMk id="9" creationId="{9DE88E5D-3131-BB2F-B3A7-CE47ABE6AFCB}"/>
          </ac:spMkLst>
        </pc:spChg>
        <pc:spChg chg="ord replST">
          <ac:chgData name="Natakala, Dak" userId="cd0822e5-8453-49cd-b7f2-0e1ddb2cf849" providerId="ADAL" clId="{7B62E480-7981-4CB4-8BDC-B43B16217FDC}" dt="2023-08-24T11:35:55.605" v="14025"/>
          <ac:spMkLst>
            <pc:docMk/>
            <pc:sldMk cId="1509187300" sldId="279"/>
            <ac:spMk id="10" creationId="{ECE86FBC-B905-7F1F-B836-ED3CAD1D93DB}"/>
          </ac:spMkLst>
        </pc:spChg>
        <pc:spChg chg="mod ord replST">
          <ac:chgData name="Natakala, Dak" userId="cd0822e5-8453-49cd-b7f2-0e1ddb2cf849" providerId="ADAL" clId="{7B62E480-7981-4CB4-8BDC-B43B16217FDC}" dt="2023-08-24T11:35:55.605" v="14026"/>
          <ac:spMkLst>
            <pc:docMk/>
            <pc:sldMk cId="1509187300" sldId="279"/>
            <ac:spMk id="11" creationId="{B2A89DC5-72DC-9B4E-37C7-F402C8EC62FF}"/>
          </ac:spMkLst>
        </pc:spChg>
        <pc:spChg chg="replST">
          <ac:chgData name="Natakala, Dak" userId="cd0822e5-8453-49cd-b7f2-0e1ddb2cf849" providerId="ADAL" clId="{7B62E480-7981-4CB4-8BDC-B43B16217FDC}" dt="2023-08-24T11:35:55.585" v="14000"/>
          <ac:spMkLst>
            <pc:docMk/>
            <pc:sldMk cId="1509187300" sldId="279"/>
            <ac:spMk id="12" creationId="{EA0572EA-5795-EF3D-8FC2-D31B0E3B75CE}"/>
          </ac:spMkLst>
        </pc:spChg>
        <pc:spChg chg="replST">
          <ac:chgData name="Natakala, Dak" userId="cd0822e5-8453-49cd-b7f2-0e1ddb2cf849" providerId="ADAL" clId="{7B62E480-7981-4CB4-8BDC-B43B16217FDC}" dt="2023-08-24T11:35:55.588" v="14002"/>
          <ac:spMkLst>
            <pc:docMk/>
            <pc:sldMk cId="1509187300" sldId="279"/>
            <ac:spMk id="13" creationId="{39F8DC3E-76D9-0C7C-083F-CE37146D2A8F}"/>
          </ac:spMkLst>
        </pc:spChg>
        <pc:spChg chg="replST">
          <ac:chgData name="Natakala, Dak" userId="cd0822e5-8453-49cd-b7f2-0e1ddb2cf849" providerId="ADAL" clId="{7B62E480-7981-4CB4-8BDC-B43B16217FDC}" dt="2023-08-24T11:35:55.590" v="14005"/>
          <ac:spMkLst>
            <pc:docMk/>
            <pc:sldMk cId="1509187300" sldId="279"/>
            <ac:spMk id="14" creationId="{31BD79D7-6AD9-ACC0-92E7-6EBAD70643EA}"/>
          </ac:spMkLst>
        </pc:spChg>
        <pc:spChg chg="mod ord replST">
          <ac:chgData name="Natakala, Dak" userId="cd0822e5-8453-49cd-b7f2-0e1ddb2cf849" providerId="ADAL" clId="{7B62E480-7981-4CB4-8BDC-B43B16217FDC}" dt="2023-08-24T11:35:55.606" v="14027"/>
          <ac:spMkLst>
            <pc:docMk/>
            <pc:sldMk cId="1509187300" sldId="279"/>
            <ac:spMk id="15" creationId="{5A62F60E-5DC5-FF83-0CD5-261DC02547F8}"/>
          </ac:spMkLst>
        </pc:spChg>
        <pc:spChg chg="replST">
          <ac:chgData name="Natakala, Dak" userId="cd0822e5-8453-49cd-b7f2-0e1ddb2cf849" providerId="ADAL" clId="{7B62E480-7981-4CB4-8BDC-B43B16217FDC}" dt="2023-08-24T11:35:55.598" v="14017"/>
          <ac:spMkLst>
            <pc:docMk/>
            <pc:sldMk cId="1509187300" sldId="279"/>
            <ac:spMk id="16" creationId="{1CC439F1-C5B3-C760-51BB-851BDC64337D}"/>
          </ac:spMkLst>
        </pc:spChg>
        <pc:spChg chg="replST">
          <ac:chgData name="Natakala, Dak" userId="cd0822e5-8453-49cd-b7f2-0e1ddb2cf849" providerId="ADAL" clId="{7B62E480-7981-4CB4-8BDC-B43B16217FDC}" dt="2023-08-24T11:35:55.600" v="14019"/>
          <ac:spMkLst>
            <pc:docMk/>
            <pc:sldMk cId="1509187300" sldId="279"/>
            <ac:spMk id="17" creationId="{1C89727B-F916-ECE7-87DB-FD44C7DD4600}"/>
          </ac:spMkLst>
        </pc:spChg>
        <pc:spChg chg="replST">
          <ac:chgData name="Natakala, Dak" userId="cd0822e5-8453-49cd-b7f2-0e1ddb2cf849" providerId="ADAL" clId="{7B62E480-7981-4CB4-8BDC-B43B16217FDC}" dt="2023-08-24T11:35:55.602" v="14022"/>
          <ac:spMkLst>
            <pc:docMk/>
            <pc:sldMk cId="1509187300" sldId="279"/>
            <ac:spMk id="18" creationId="{CDF8F157-FFE6-6DD5-B72C-50A36B9EB692}"/>
          </ac:spMkLst>
        </pc:spChg>
      </pc:sldChg>
      <pc:sldChg chg="delSp modSp del mod replTag">
        <pc:chgData name="Natakala, Dak" userId="cd0822e5-8453-49cd-b7f2-0e1ddb2cf849" providerId="ADAL" clId="{7B62E480-7981-4CB4-8BDC-B43B16217FDC}" dt="2023-08-24T11:38:19.919" v="14159" actId="2696"/>
        <pc:sldMkLst>
          <pc:docMk/>
          <pc:sldMk cId="2390930652" sldId="280"/>
        </pc:sldMkLst>
        <pc:spChg chg="del">
          <ac:chgData name="Natakala, Dak" userId="cd0822e5-8453-49cd-b7f2-0e1ddb2cf849" providerId="ADAL" clId="{7B62E480-7981-4CB4-8BDC-B43B16217FDC}" dt="2023-08-24T11:35:55.445" v="13907" actId="478"/>
          <ac:spMkLst>
            <pc:docMk/>
            <pc:sldMk cId="2390930652" sldId="280"/>
            <ac:spMk id="2" creationId="{BED295CA-B246-A85F-78EB-8E0108ECE46A}"/>
          </ac:spMkLst>
        </pc:spChg>
        <pc:spChg chg="mod ord replST">
          <ac:chgData name="Natakala, Dak" userId="cd0822e5-8453-49cd-b7f2-0e1ddb2cf849" providerId="ADAL" clId="{7B62E480-7981-4CB4-8BDC-B43B16217FDC}" dt="2023-08-24T11:35:55.668" v="14082"/>
          <ac:spMkLst>
            <pc:docMk/>
            <pc:sldMk cId="2390930652" sldId="280"/>
            <ac:spMk id="3" creationId="{4E2E576C-BAD2-45F6-A58F-FB0B46B31AB0}"/>
          </ac:spMkLst>
        </pc:spChg>
        <pc:spChg chg="del">
          <ac:chgData name="Natakala, Dak" userId="cd0822e5-8453-49cd-b7f2-0e1ddb2cf849" providerId="ADAL" clId="{7B62E480-7981-4CB4-8BDC-B43B16217FDC}" dt="2023-08-24T11:35:55.445" v="13906" actId="478"/>
          <ac:spMkLst>
            <pc:docMk/>
            <pc:sldMk cId="2390930652" sldId="280"/>
            <ac:spMk id="4" creationId="{9883F9A6-834B-EEA0-C228-CA950DD17221}"/>
          </ac:spMkLst>
        </pc:spChg>
        <pc:spChg chg="del">
          <ac:chgData name="Natakala, Dak" userId="cd0822e5-8453-49cd-b7f2-0e1ddb2cf849" providerId="ADAL" clId="{7B62E480-7981-4CB4-8BDC-B43B16217FDC}" dt="2023-08-24T11:35:55.444" v="13905" actId="478"/>
          <ac:spMkLst>
            <pc:docMk/>
            <pc:sldMk cId="2390930652" sldId="280"/>
            <ac:spMk id="5" creationId="{E93C6662-C194-ACF9-37FE-E957B61CA42E}"/>
          </ac:spMkLst>
        </pc:spChg>
        <pc:spChg chg="mod ord replST">
          <ac:chgData name="Natakala, Dak" userId="cd0822e5-8453-49cd-b7f2-0e1ddb2cf849" providerId="ADAL" clId="{7B62E480-7981-4CB4-8BDC-B43B16217FDC}" dt="2023-08-24T11:35:55.668" v="14083"/>
          <ac:spMkLst>
            <pc:docMk/>
            <pc:sldMk cId="2390930652" sldId="280"/>
            <ac:spMk id="6" creationId="{D7DC89F8-03A8-4FD8-36E3-E33AAA3700A5}"/>
          </ac:spMkLst>
        </pc:spChg>
        <pc:spChg chg="replST">
          <ac:chgData name="Natakala, Dak" userId="cd0822e5-8453-49cd-b7f2-0e1ddb2cf849" providerId="ADAL" clId="{7B62E480-7981-4CB4-8BDC-B43B16217FDC}" dt="2023-08-24T11:35:55.631" v="14041"/>
          <ac:spMkLst>
            <pc:docMk/>
            <pc:sldMk cId="2390930652" sldId="280"/>
            <ac:spMk id="7" creationId="{F825E16B-993A-95C1-3EA9-64446717F24D}"/>
          </ac:spMkLst>
        </pc:spChg>
        <pc:spChg chg="replST">
          <ac:chgData name="Natakala, Dak" userId="cd0822e5-8453-49cd-b7f2-0e1ddb2cf849" providerId="ADAL" clId="{7B62E480-7981-4CB4-8BDC-B43B16217FDC}" dt="2023-08-24T11:35:55.634" v="14043"/>
          <ac:spMkLst>
            <pc:docMk/>
            <pc:sldMk cId="2390930652" sldId="280"/>
            <ac:spMk id="8" creationId="{56D2163E-3DDF-0176-4365-4EFA7CFB0F3F}"/>
          </ac:spMkLst>
        </pc:spChg>
        <pc:spChg chg="replST">
          <ac:chgData name="Natakala, Dak" userId="cd0822e5-8453-49cd-b7f2-0e1ddb2cf849" providerId="ADAL" clId="{7B62E480-7981-4CB4-8BDC-B43B16217FDC}" dt="2023-08-24T11:35:55.636" v="14046"/>
          <ac:spMkLst>
            <pc:docMk/>
            <pc:sldMk cId="2390930652" sldId="280"/>
            <ac:spMk id="9" creationId="{9C2AF42B-B005-909B-4EE4-56E146A775E8}"/>
          </ac:spMkLst>
        </pc:spChg>
        <pc:spChg chg="mod ord replST">
          <ac:chgData name="Natakala, Dak" userId="cd0822e5-8453-49cd-b7f2-0e1ddb2cf849" providerId="ADAL" clId="{7B62E480-7981-4CB4-8BDC-B43B16217FDC}" dt="2023-08-24T11:35:55.670" v="14084"/>
          <ac:spMkLst>
            <pc:docMk/>
            <pc:sldMk cId="2390930652" sldId="280"/>
            <ac:spMk id="10" creationId="{20196D95-83E5-E9A9-6CA6-2CFB9E881534}"/>
          </ac:spMkLst>
        </pc:spChg>
        <pc:spChg chg="replST">
          <ac:chgData name="Natakala, Dak" userId="cd0822e5-8453-49cd-b7f2-0e1ddb2cf849" providerId="ADAL" clId="{7B62E480-7981-4CB4-8BDC-B43B16217FDC}" dt="2023-08-24T11:35:55.645" v="14058"/>
          <ac:spMkLst>
            <pc:docMk/>
            <pc:sldMk cId="2390930652" sldId="280"/>
            <ac:spMk id="11" creationId="{D6F9A04E-8173-FC4B-E7F8-E7DD18CEF962}"/>
          </ac:spMkLst>
        </pc:spChg>
        <pc:spChg chg="replST">
          <ac:chgData name="Natakala, Dak" userId="cd0822e5-8453-49cd-b7f2-0e1ddb2cf849" providerId="ADAL" clId="{7B62E480-7981-4CB4-8BDC-B43B16217FDC}" dt="2023-08-24T11:35:55.649" v="14060"/>
          <ac:spMkLst>
            <pc:docMk/>
            <pc:sldMk cId="2390930652" sldId="280"/>
            <ac:spMk id="12" creationId="{F70F35E6-CE36-F07B-B197-F9029E9D1074}"/>
          </ac:spMkLst>
        </pc:spChg>
        <pc:spChg chg="replST">
          <ac:chgData name="Natakala, Dak" userId="cd0822e5-8453-49cd-b7f2-0e1ddb2cf849" providerId="ADAL" clId="{7B62E480-7981-4CB4-8BDC-B43B16217FDC}" dt="2023-08-24T11:35:55.651" v="14063"/>
          <ac:spMkLst>
            <pc:docMk/>
            <pc:sldMk cId="2390930652" sldId="280"/>
            <ac:spMk id="13" creationId="{EE0F92C3-AAC0-C571-56DF-085EDAFB9D87}"/>
          </ac:spMkLst>
        </pc:spChg>
        <pc:spChg chg="ord replST">
          <ac:chgData name="Natakala, Dak" userId="cd0822e5-8453-49cd-b7f2-0e1ddb2cf849" providerId="ADAL" clId="{7B62E480-7981-4CB4-8BDC-B43B16217FDC}" dt="2023-08-24T11:35:55.671" v="14085"/>
          <ac:spMkLst>
            <pc:docMk/>
            <pc:sldMk cId="2390930652" sldId="280"/>
            <ac:spMk id="14" creationId="{B6925BAB-0231-D66E-E12F-D2A5C334F05F}"/>
          </ac:spMkLst>
        </pc:spChg>
        <pc:spChg chg="mod ord replST">
          <ac:chgData name="Natakala, Dak" userId="cd0822e5-8453-49cd-b7f2-0e1ddb2cf849" providerId="ADAL" clId="{7B62E480-7981-4CB4-8BDC-B43B16217FDC}" dt="2023-08-24T11:35:55.671" v="14086"/>
          <ac:spMkLst>
            <pc:docMk/>
            <pc:sldMk cId="2390930652" sldId="280"/>
            <ac:spMk id="15" creationId="{A8D64238-9A7A-961D-5FE4-475039FE3122}"/>
          </ac:spMkLst>
        </pc:spChg>
        <pc:spChg chg="replST">
          <ac:chgData name="Natakala, Dak" userId="cd0822e5-8453-49cd-b7f2-0e1ddb2cf849" providerId="ADAL" clId="{7B62E480-7981-4CB4-8BDC-B43B16217FDC}" dt="2023-08-24T11:35:55.662" v="14076"/>
          <ac:spMkLst>
            <pc:docMk/>
            <pc:sldMk cId="2390930652" sldId="280"/>
            <ac:spMk id="16" creationId="{85D8A20C-895A-D965-B6AD-B4B324CD24CD}"/>
          </ac:spMkLst>
        </pc:spChg>
        <pc:spChg chg="replST">
          <ac:chgData name="Natakala, Dak" userId="cd0822e5-8453-49cd-b7f2-0e1ddb2cf849" providerId="ADAL" clId="{7B62E480-7981-4CB4-8BDC-B43B16217FDC}" dt="2023-08-24T11:35:55.665" v="14078"/>
          <ac:spMkLst>
            <pc:docMk/>
            <pc:sldMk cId="2390930652" sldId="280"/>
            <ac:spMk id="17" creationId="{F973DB1F-1180-CA60-66A3-38F93AB593E6}"/>
          </ac:spMkLst>
        </pc:spChg>
        <pc:spChg chg="replST">
          <ac:chgData name="Natakala, Dak" userId="cd0822e5-8453-49cd-b7f2-0e1ddb2cf849" providerId="ADAL" clId="{7B62E480-7981-4CB4-8BDC-B43B16217FDC}" dt="2023-08-24T11:35:55.668" v="14081"/>
          <ac:spMkLst>
            <pc:docMk/>
            <pc:sldMk cId="2390930652" sldId="280"/>
            <ac:spMk id="18" creationId="{945EEBF5-C6C5-F94C-9FF6-0D0E16CBFFE5}"/>
          </ac:spMkLst>
        </pc:spChg>
      </pc:sldChg>
      <pc:sldChg chg="delSp modSp del mod replTag">
        <pc:chgData name="Natakala, Dak" userId="cd0822e5-8453-49cd-b7f2-0e1ddb2cf849" providerId="ADAL" clId="{7B62E480-7981-4CB4-8BDC-B43B16217FDC}" dt="2023-08-24T11:38:19.924" v="14160" actId="2696"/>
        <pc:sldMkLst>
          <pc:docMk/>
          <pc:sldMk cId="2512140413" sldId="281"/>
        </pc:sldMkLst>
        <pc:spChg chg="del">
          <ac:chgData name="Natakala, Dak" userId="cd0822e5-8453-49cd-b7f2-0e1ddb2cf849" providerId="ADAL" clId="{7B62E480-7981-4CB4-8BDC-B43B16217FDC}" dt="2023-08-24T11:35:55.449" v="13911" actId="478"/>
          <ac:spMkLst>
            <pc:docMk/>
            <pc:sldMk cId="2512140413" sldId="281"/>
            <ac:spMk id="2" creationId="{005C4715-E48C-6849-B1C0-C91592CEEF4E}"/>
          </ac:spMkLst>
        </pc:spChg>
        <pc:spChg chg="mod ord replST">
          <ac:chgData name="Natakala, Dak" userId="cd0822e5-8453-49cd-b7f2-0e1ddb2cf849" providerId="ADAL" clId="{7B62E480-7981-4CB4-8BDC-B43B16217FDC}" dt="2023-08-24T11:35:55.758" v="14141"/>
          <ac:spMkLst>
            <pc:docMk/>
            <pc:sldMk cId="2512140413" sldId="281"/>
            <ac:spMk id="3" creationId="{02353099-10CE-5B3F-B9F0-969CA472EC4D}"/>
          </ac:spMkLst>
        </pc:spChg>
        <pc:spChg chg="del">
          <ac:chgData name="Natakala, Dak" userId="cd0822e5-8453-49cd-b7f2-0e1ddb2cf849" providerId="ADAL" clId="{7B62E480-7981-4CB4-8BDC-B43B16217FDC}" dt="2023-08-24T11:35:55.448" v="13910" actId="478"/>
          <ac:spMkLst>
            <pc:docMk/>
            <pc:sldMk cId="2512140413" sldId="281"/>
            <ac:spMk id="4" creationId="{DFA36C3C-4C71-EB70-B4D3-EFD5E0AB7529}"/>
          </ac:spMkLst>
        </pc:spChg>
        <pc:spChg chg="del">
          <ac:chgData name="Natakala, Dak" userId="cd0822e5-8453-49cd-b7f2-0e1ddb2cf849" providerId="ADAL" clId="{7B62E480-7981-4CB4-8BDC-B43B16217FDC}" dt="2023-08-24T11:35:55.448" v="13909" actId="478"/>
          <ac:spMkLst>
            <pc:docMk/>
            <pc:sldMk cId="2512140413" sldId="281"/>
            <ac:spMk id="5" creationId="{9EB2DF04-DFEA-D834-9E08-9531D6F223A2}"/>
          </ac:spMkLst>
        </pc:spChg>
        <pc:spChg chg="mod ord replST">
          <ac:chgData name="Natakala, Dak" userId="cd0822e5-8453-49cd-b7f2-0e1ddb2cf849" providerId="ADAL" clId="{7B62E480-7981-4CB4-8BDC-B43B16217FDC}" dt="2023-08-24T11:35:55.759" v="14142"/>
          <ac:spMkLst>
            <pc:docMk/>
            <pc:sldMk cId="2512140413" sldId="281"/>
            <ac:spMk id="6" creationId="{A7787D0D-286D-22D8-1AFE-3B0A227DC835}"/>
          </ac:spMkLst>
        </pc:spChg>
        <pc:spChg chg="replST">
          <ac:chgData name="Natakala, Dak" userId="cd0822e5-8453-49cd-b7f2-0e1ddb2cf849" providerId="ADAL" clId="{7B62E480-7981-4CB4-8BDC-B43B16217FDC}" dt="2023-08-24T11:35:55.717" v="14100"/>
          <ac:spMkLst>
            <pc:docMk/>
            <pc:sldMk cId="2512140413" sldId="281"/>
            <ac:spMk id="7" creationId="{CE1CE9FC-0561-CABD-FF72-1EF84EC352CC}"/>
          </ac:spMkLst>
        </pc:spChg>
        <pc:spChg chg="replST">
          <ac:chgData name="Natakala, Dak" userId="cd0822e5-8453-49cd-b7f2-0e1ddb2cf849" providerId="ADAL" clId="{7B62E480-7981-4CB4-8BDC-B43B16217FDC}" dt="2023-08-24T11:35:55.721" v="14102"/>
          <ac:spMkLst>
            <pc:docMk/>
            <pc:sldMk cId="2512140413" sldId="281"/>
            <ac:spMk id="8" creationId="{9A4391B6-1E63-3406-F262-44CCBA6A2B9A}"/>
          </ac:spMkLst>
        </pc:spChg>
        <pc:spChg chg="replST">
          <ac:chgData name="Natakala, Dak" userId="cd0822e5-8453-49cd-b7f2-0e1ddb2cf849" providerId="ADAL" clId="{7B62E480-7981-4CB4-8BDC-B43B16217FDC}" dt="2023-08-24T11:35:55.723" v="14105"/>
          <ac:spMkLst>
            <pc:docMk/>
            <pc:sldMk cId="2512140413" sldId="281"/>
            <ac:spMk id="9" creationId="{74DBF02C-93EA-66A9-1113-47F851EEC1C1}"/>
          </ac:spMkLst>
        </pc:spChg>
        <pc:spChg chg="mod ord replST">
          <ac:chgData name="Natakala, Dak" userId="cd0822e5-8453-49cd-b7f2-0e1ddb2cf849" providerId="ADAL" clId="{7B62E480-7981-4CB4-8BDC-B43B16217FDC}" dt="2023-08-24T11:35:55.760" v="14143"/>
          <ac:spMkLst>
            <pc:docMk/>
            <pc:sldMk cId="2512140413" sldId="281"/>
            <ac:spMk id="10" creationId="{BEA5A6A3-FA3B-7E98-097D-C4F06D137FF1}"/>
          </ac:spMkLst>
        </pc:spChg>
        <pc:spChg chg="replST">
          <ac:chgData name="Natakala, Dak" userId="cd0822e5-8453-49cd-b7f2-0e1ddb2cf849" providerId="ADAL" clId="{7B62E480-7981-4CB4-8BDC-B43B16217FDC}" dt="2023-08-24T11:35:55.734" v="14117"/>
          <ac:spMkLst>
            <pc:docMk/>
            <pc:sldMk cId="2512140413" sldId="281"/>
            <ac:spMk id="11" creationId="{3030231C-390B-69BB-2E85-FC666C9587AF}"/>
          </ac:spMkLst>
        </pc:spChg>
        <pc:spChg chg="replST">
          <ac:chgData name="Natakala, Dak" userId="cd0822e5-8453-49cd-b7f2-0e1ddb2cf849" providerId="ADAL" clId="{7B62E480-7981-4CB4-8BDC-B43B16217FDC}" dt="2023-08-24T11:35:55.737" v="14119"/>
          <ac:spMkLst>
            <pc:docMk/>
            <pc:sldMk cId="2512140413" sldId="281"/>
            <ac:spMk id="12" creationId="{038E2E4D-5DBC-00B4-D4A0-8AC2BBA15DDF}"/>
          </ac:spMkLst>
        </pc:spChg>
        <pc:spChg chg="replST">
          <ac:chgData name="Natakala, Dak" userId="cd0822e5-8453-49cd-b7f2-0e1ddb2cf849" providerId="ADAL" clId="{7B62E480-7981-4CB4-8BDC-B43B16217FDC}" dt="2023-08-24T11:35:55.740" v="14122"/>
          <ac:spMkLst>
            <pc:docMk/>
            <pc:sldMk cId="2512140413" sldId="281"/>
            <ac:spMk id="13" creationId="{1C170DDE-41DB-4ACA-D75C-7E913D9B919F}"/>
          </ac:spMkLst>
        </pc:spChg>
        <pc:spChg chg="mod ord replST">
          <ac:chgData name="Natakala, Dak" userId="cd0822e5-8453-49cd-b7f2-0e1ddb2cf849" providerId="ADAL" clId="{7B62E480-7981-4CB4-8BDC-B43B16217FDC}" dt="2023-08-24T11:35:55.762" v="14144"/>
          <ac:spMkLst>
            <pc:docMk/>
            <pc:sldMk cId="2512140413" sldId="281"/>
            <ac:spMk id="14" creationId="{660BF8DC-7ABF-9495-1CEE-0675EE3341B8}"/>
          </ac:spMkLst>
        </pc:spChg>
        <pc:spChg chg="replST">
          <ac:chgData name="Natakala, Dak" userId="cd0822e5-8453-49cd-b7f2-0e1ddb2cf849" providerId="ADAL" clId="{7B62E480-7981-4CB4-8BDC-B43B16217FDC}" dt="2023-08-24T11:35:55.750" v="14134"/>
          <ac:spMkLst>
            <pc:docMk/>
            <pc:sldMk cId="2512140413" sldId="281"/>
            <ac:spMk id="15" creationId="{665D910D-497B-4CEE-67C9-7489A09CE247}"/>
          </ac:spMkLst>
        </pc:spChg>
        <pc:spChg chg="replST">
          <ac:chgData name="Natakala, Dak" userId="cd0822e5-8453-49cd-b7f2-0e1ddb2cf849" providerId="ADAL" clId="{7B62E480-7981-4CB4-8BDC-B43B16217FDC}" dt="2023-08-24T11:35:55.753" v="14136"/>
          <ac:spMkLst>
            <pc:docMk/>
            <pc:sldMk cId="2512140413" sldId="281"/>
            <ac:spMk id="16" creationId="{56A55DFE-E873-78DF-5E94-797B087315AA}"/>
          </ac:spMkLst>
        </pc:spChg>
        <pc:spChg chg="replST">
          <ac:chgData name="Natakala, Dak" userId="cd0822e5-8453-49cd-b7f2-0e1ddb2cf849" providerId="ADAL" clId="{7B62E480-7981-4CB4-8BDC-B43B16217FDC}" dt="2023-08-24T11:35:55.756" v="14139"/>
          <ac:spMkLst>
            <pc:docMk/>
            <pc:sldMk cId="2512140413" sldId="281"/>
            <ac:spMk id="17" creationId="{E107FA41-19BE-C8A2-F451-49F6971DD521}"/>
          </ac:spMkLst>
        </pc:spChg>
        <pc:spChg chg="ord replST">
          <ac:chgData name="Natakala, Dak" userId="cd0822e5-8453-49cd-b7f2-0e1ddb2cf849" providerId="ADAL" clId="{7B62E480-7981-4CB4-8BDC-B43B16217FDC}" dt="2023-08-24T11:35:55.763" v="14145"/>
          <ac:spMkLst>
            <pc:docMk/>
            <pc:sldMk cId="2512140413" sldId="281"/>
            <ac:spMk id="18" creationId="{58558231-D8F2-6CF7-C783-DCB3F198BE02}"/>
          </ac:spMkLst>
        </pc:spChg>
      </pc:sldChg>
      <pc:sldChg chg="addSp delSp modSp mod replTag">
        <pc:chgData name="Natakala, Dak" userId="cd0822e5-8453-49cd-b7f2-0e1ddb2cf849" providerId="ADAL" clId="{7B62E480-7981-4CB4-8BDC-B43B16217FDC}" dt="2023-08-25T08:50:44.014" v="17222" actId="20577"/>
        <pc:sldMkLst>
          <pc:docMk/>
          <pc:sldMk cId="1122472970" sldId="282"/>
        </pc:sldMkLst>
        <pc:spChg chg="del">
          <ac:chgData name="Natakala, Dak" userId="cd0822e5-8453-49cd-b7f2-0e1ddb2cf849" providerId="ADAL" clId="{7B62E480-7981-4CB4-8BDC-B43B16217FDC}" dt="2023-08-24T11:35:55.777" v="14149" actId="478"/>
          <ac:spMkLst>
            <pc:docMk/>
            <pc:sldMk cId="1122472970" sldId="282"/>
            <ac:spMk id="2" creationId="{65281DF6-4156-1CFE-6D1F-9B3225758C84}"/>
          </ac:spMkLst>
        </pc:spChg>
        <pc:spChg chg="del mod replST">
          <ac:chgData name="Natakala, Dak" userId="cd0822e5-8453-49cd-b7f2-0e1ddb2cf849" providerId="ADAL" clId="{7B62E480-7981-4CB4-8BDC-B43B16217FDC}" dt="2023-08-24T11:38:20.817" v="14647" actId="478"/>
          <ac:spMkLst>
            <pc:docMk/>
            <pc:sldMk cId="1122472970" sldId="282"/>
            <ac:spMk id="3" creationId="{7C2EAD42-EBC4-793D-723D-E6928FA4053F}"/>
          </ac:spMkLst>
        </pc:spChg>
        <pc:spChg chg="del">
          <ac:chgData name="Natakala, Dak" userId="cd0822e5-8453-49cd-b7f2-0e1ddb2cf849" providerId="ADAL" clId="{7B62E480-7981-4CB4-8BDC-B43B16217FDC}" dt="2023-08-24T11:35:55.777" v="14148" actId="478"/>
          <ac:spMkLst>
            <pc:docMk/>
            <pc:sldMk cId="1122472970" sldId="282"/>
            <ac:spMk id="4" creationId="{EB4273D2-DB4B-5B96-4040-464BDD37E44F}"/>
          </ac:spMkLst>
        </pc:spChg>
        <pc:spChg chg="del">
          <ac:chgData name="Natakala, Dak" userId="cd0822e5-8453-49cd-b7f2-0e1ddb2cf849" providerId="ADAL" clId="{7B62E480-7981-4CB4-8BDC-B43B16217FDC}" dt="2023-08-24T11:35:55.776" v="14147" actId="478"/>
          <ac:spMkLst>
            <pc:docMk/>
            <pc:sldMk cId="1122472970" sldId="282"/>
            <ac:spMk id="5" creationId="{B5959A36-A325-5116-35D8-3976DD62A352}"/>
          </ac:spMkLst>
        </pc:spChg>
        <pc:spChg chg="add mod">
          <ac:chgData name="Natakala, Dak" userId="cd0822e5-8453-49cd-b7f2-0e1ddb2cf849" providerId="ADAL" clId="{7B62E480-7981-4CB4-8BDC-B43B16217FDC}" dt="2023-08-24T16:12:00.416" v="16754" actId="478"/>
          <ac:spMkLst>
            <pc:docMk/>
            <pc:sldMk cId="1122472970" sldId="282"/>
            <ac:spMk id="6" creationId="{B232EF1C-4FC0-A78A-7F6E-36EF3774DC2C}"/>
          </ac:spMkLst>
        </pc:spChg>
        <pc:spChg chg="del mod replST">
          <ac:chgData name="Natakala, Dak" userId="cd0822e5-8453-49cd-b7f2-0e1ddb2cf849" providerId="ADAL" clId="{7B62E480-7981-4CB4-8BDC-B43B16217FDC}" dt="2023-08-25T08:50:44.008" v="17217" actId="478"/>
          <ac:spMkLst>
            <pc:docMk/>
            <pc:sldMk cId="1122472970" sldId="282"/>
            <ac:spMk id="7" creationId="{04DD4C6F-98AA-C916-8E68-A06717CBE3D1}"/>
          </ac:spMkLst>
        </pc:spChg>
        <pc:spChg chg="del">
          <ac:chgData name="Natakala, Dak" userId="cd0822e5-8453-49cd-b7f2-0e1ddb2cf849" providerId="ADAL" clId="{7B62E480-7981-4CB4-8BDC-B43B16217FDC}" dt="2023-08-24T16:12:00.419" v="16757" actId="478"/>
          <ac:spMkLst>
            <pc:docMk/>
            <pc:sldMk cId="1122472970" sldId="282"/>
            <ac:spMk id="8" creationId="{4A70289D-0686-2BAA-824F-00F54929DFBD}"/>
          </ac:spMkLst>
        </pc:spChg>
        <pc:spChg chg="del">
          <ac:chgData name="Natakala, Dak" userId="cd0822e5-8453-49cd-b7f2-0e1ddb2cf849" providerId="ADAL" clId="{7B62E480-7981-4CB4-8BDC-B43B16217FDC}" dt="2023-08-24T16:12:00.418" v="16755" actId="478"/>
          <ac:spMkLst>
            <pc:docMk/>
            <pc:sldMk cId="1122472970" sldId="282"/>
            <ac:spMk id="9" creationId="{0B45A286-4A5F-FB32-786A-5104E8A15798}"/>
          </ac:spMkLst>
        </pc:spChg>
        <pc:spChg chg="add mod">
          <ac:chgData name="Natakala, Dak" userId="cd0822e5-8453-49cd-b7f2-0e1ddb2cf849" providerId="ADAL" clId="{7B62E480-7981-4CB4-8BDC-B43B16217FDC}" dt="2023-08-24T11:38:20.817" v="14647" actId="478"/>
          <ac:spMkLst>
            <pc:docMk/>
            <pc:sldMk cId="1122472970" sldId="282"/>
            <ac:spMk id="10" creationId="{48B5CF8D-DCF8-9BDC-38A6-6D861054985E}"/>
          </ac:spMkLst>
        </pc:spChg>
        <pc:spChg chg="del">
          <ac:chgData name="Natakala, Dak" userId="cd0822e5-8453-49cd-b7f2-0e1ddb2cf849" providerId="ADAL" clId="{7B62E480-7981-4CB4-8BDC-B43B16217FDC}" dt="2023-08-24T16:12:00.419" v="16756" actId="478"/>
          <ac:spMkLst>
            <pc:docMk/>
            <pc:sldMk cId="1122472970" sldId="282"/>
            <ac:spMk id="10" creationId="{4FDCBAAB-1523-EF87-AB94-96E42C6793EF}"/>
          </ac:spMkLst>
        </pc:spChg>
        <pc:spChg chg="del mod replST">
          <ac:chgData name="Natakala, Dak" userId="cd0822e5-8453-49cd-b7f2-0e1ddb2cf849" providerId="ADAL" clId="{7B62E480-7981-4CB4-8BDC-B43B16217FDC}" dt="2023-08-24T16:12:00.416" v="16754" actId="478"/>
          <ac:spMkLst>
            <pc:docMk/>
            <pc:sldMk cId="1122472970" sldId="282"/>
            <ac:spMk id="11" creationId="{D4BCD59C-F55C-1147-39CA-7FBA063A3343}"/>
          </ac:spMkLst>
        </pc:spChg>
        <pc:spChg chg="del">
          <ac:chgData name="Natakala, Dak" userId="cd0822e5-8453-49cd-b7f2-0e1ddb2cf849" providerId="ADAL" clId="{7B62E480-7981-4CB4-8BDC-B43B16217FDC}" dt="2023-08-24T11:38:20.820" v="14650" actId="478"/>
          <ac:spMkLst>
            <pc:docMk/>
            <pc:sldMk cId="1122472970" sldId="282"/>
            <ac:spMk id="12" creationId="{7BA98272-AE08-1F04-59A4-B9785522EDF8}"/>
          </ac:spMkLst>
        </pc:spChg>
        <pc:spChg chg="del">
          <ac:chgData name="Natakala, Dak" userId="cd0822e5-8453-49cd-b7f2-0e1ddb2cf849" providerId="ADAL" clId="{7B62E480-7981-4CB4-8BDC-B43B16217FDC}" dt="2023-08-24T11:38:20.819" v="14648" actId="478"/>
          <ac:spMkLst>
            <pc:docMk/>
            <pc:sldMk cId="1122472970" sldId="282"/>
            <ac:spMk id="13" creationId="{AF430E4F-5A7B-41A1-CCBC-5A143A998508}"/>
          </ac:spMkLst>
        </pc:spChg>
        <pc:spChg chg="del">
          <ac:chgData name="Natakala, Dak" userId="cd0822e5-8453-49cd-b7f2-0e1ddb2cf849" providerId="ADAL" clId="{7B62E480-7981-4CB4-8BDC-B43B16217FDC}" dt="2023-08-24T11:38:20.820" v="14649" actId="478"/>
          <ac:spMkLst>
            <pc:docMk/>
            <pc:sldMk cId="1122472970" sldId="282"/>
            <ac:spMk id="14" creationId="{2A5ADDD9-35E1-51E0-C623-D829F48DDA37}"/>
          </ac:spMkLst>
        </pc:spChg>
        <pc:spChg chg="add mod">
          <ac:chgData name="Natakala, Dak" userId="cd0822e5-8453-49cd-b7f2-0e1ddb2cf849" providerId="ADAL" clId="{7B62E480-7981-4CB4-8BDC-B43B16217FDC}" dt="2023-08-25T08:50:44.008" v="17217" actId="478"/>
          <ac:spMkLst>
            <pc:docMk/>
            <pc:sldMk cId="1122472970" sldId="282"/>
            <ac:spMk id="17" creationId="{26392C52-B1F5-F871-A22B-670149C61A00}"/>
          </ac:spMkLst>
        </pc:spChg>
        <pc:spChg chg="mod replST">
          <ac:chgData name="Natakala, Dak" userId="cd0822e5-8453-49cd-b7f2-0e1ddb2cf849" providerId="ADAL" clId="{7B62E480-7981-4CB4-8BDC-B43B16217FDC}" dt="2023-08-25T08:50:44.014" v="17222" actId="20577"/>
          <ac:spMkLst>
            <pc:docMk/>
            <pc:sldMk cId="1122472970" sldId="282"/>
            <ac:spMk id="18" creationId="{07300CFA-D073-6DE3-3E5F-C729A80D5DDB}"/>
          </ac:spMkLst>
        </pc:spChg>
        <pc:spChg chg="del">
          <ac:chgData name="Natakala, Dak" userId="cd0822e5-8453-49cd-b7f2-0e1ddb2cf849" providerId="ADAL" clId="{7B62E480-7981-4CB4-8BDC-B43B16217FDC}" dt="2023-08-25T08:50:44.012" v="17220" actId="478"/>
          <ac:spMkLst>
            <pc:docMk/>
            <pc:sldMk cId="1122472970" sldId="282"/>
            <ac:spMk id="19" creationId="{5C83848F-3D08-BE7A-1D2A-2EDC85188210}"/>
          </ac:spMkLst>
        </pc:spChg>
        <pc:spChg chg="del">
          <ac:chgData name="Natakala, Dak" userId="cd0822e5-8453-49cd-b7f2-0e1ddb2cf849" providerId="ADAL" clId="{7B62E480-7981-4CB4-8BDC-B43B16217FDC}" dt="2023-08-25T08:50:44.011" v="17218" actId="478"/>
          <ac:spMkLst>
            <pc:docMk/>
            <pc:sldMk cId="1122472970" sldId="282"/>
            <ac:spMk id="20" creationId="{1EF3325A-F743-B27F-B5B3-CD07F7B3E413}"/>
          </ac:spMkLst>
        </pc:spChg>
        <pc:spChg chg="del">
          <ac:chgData name="Natakala, Dak" userId="cd0822e5-8453-49cd-b7f2-0e1ddb2cf849" providerId="ADAL" clId="{7B62E480-7981-4CB4-8BDC-B43B16217FDC}" dt="2023-08-25T08:50:44.011" v="17219" actId="478"/>
          <ac:spMkLst>
            <pc:docMk/>
            <pc:sldMk cId="1122472970" sldId="282"/>
            <ac:spMk id="21" creationId="{E0DD75F1-4C43-5A5C-07F3-937A3AB6FC44}"/>
          </ac:spMkLst>
        </pc:spChg>
      </pc:sldChg>
      <pc:sldChg chg="delSp modSp del mod">
        <pc:chgData name="Natakala, Dak" userId="cd0822e5-8453-49cd-b7f2-0e1ddb2cf849" providerId="ADAL" clId="{7B62E480-7981-4CB4-8BDC-B43B16217FDC}" dt="2023-08-24T11:38:20.833" v="14657" actId="2696"/>
        <pc:sldMkLst>
          <pc:docMk/>
          <pc:sldMk cId="2806676008" sldId="283"/>
        </pc:sldMkLst>
        <pc:spChg chg="del">
          <ac:chgData name="Natakala, Dak" userId="cd0822e5-8453-49cd-b7f2-0e1ddb2cf849" providerId="ADAL" clId="{7B62E480-7981-4CB4-8BDC-B43B16217FDC}" dt="2023-08-24T11:38:20.830" v="14655" actId="478"/>
          <ac:spMkLst>
            <pc:docMk/>
            <pc:sldMk cId="2806676008" sldId="283"/>
            <ac:spMk id="6" creationId="{7464E1AE-D7D3-9107-5523-13328F236143}"/>
          </ac:spMkLst>
        </pc:spChg>
        <pc:spChg chg="mod">
          <ac:chgData name="Natakala, Dak" userId="cd0822e5-8453-49cd-b7f2-0e1ddb2cf849" providerId="ADAL" clId="{7B62E480-7981-4CB4-8BDC-B43B16217FDC}" dt="2023-08-24T11:38:19.929" v="14162" actId="207"/>
          <ac:spMkLst>
            <pc:docMk/>
            <pc:sldMk cId="2806676008" sldId="283"/>
            <ac:spMk id="8" creationId="{C2B2153C-6ECC-E35D-5090-5B1E701ED244}"/>
          </ac:spMkLst>
        </pc:spChg>
        <pc:spChg chg="mod modVis">
          <ac:chgData name="Natakala, Dak" userId="cd0822e5-8453-49cd-b7f2-0e1ddb2cf849" providerId="ADAL" clId="{7B62E480-7981-4CB4-8BDC-B43B16217FDC}" dt="2023-08-24T11:38:19.966" v="14163" actId="962"/>
          <ac:spMkLst>
            <pc:docMk/>
            <pc:sldMk cId="2806676008" sldId="283"/>
            <ac:spMk id="10" creationId="{0210297B-4FE3-E4DF-DEBC-05E9EFAA1191}"/>
          </ac:spMkLst>
        </pc:spChg>
        <pc:spChg chg="mod modVis">
          <ac:chgData name="Natakala, Dak" userId="cd0822e5-8453-49cd-b7f2-0e1ddb2cf849" providerId="ADAL" clId="{7B62E480-7981-4CB4-8BDC-B43B16217FDC}" dt="2023-08-24T11:38:19.973" v="14164" actId="962"/>
          <ac:spMkLst>
            <pc:docMk/>
            <pc:sldMk cId="2806676008" sldId="283"/>
            <ac:spMk id="11" creationId="{0EBEE979-8FC9-8D36-477B-64159537379E}"/>
          </ac:spMkLst>
        </pc:spChg>
        <pc:spChg chg="mod modVis">
          <ac:chgData name="Natakala, Dak" userId="cd0822e5-8453-49cd-b7f2-0e1ddb2cf849" providerId="ADAL" clId="{7B62E480-7981-4CB4-8BDC-B43B16217FDC}" dt="2023-08-24T11:38:19.980" v="14165" actId="962"/>
          <ac:spMkLst>
            <pc:docMk/>
            <pc:sldMk cId="2806676008" sldId="283"/>
            <ac:spMk id="12" creationId="{47990882-D277-E407-AC80-B42856BA6B65}"/>
          </ac:spMkLst>
        </pc:spChg>
        <pc:spChg chg="mod modVis">
          <ac:chgData name="Natakala, Dak" userId="cd0822e5-8453-49cd-b7f2-0e1ddb2cf849" providerId="ADAL" clId="{7B62E480-7981-4CB4-8BDC-B43B16217FDC}" dt="2023-08-24T11:38:19.987" v="14166" actId="962"/>
          <ac:spMkLst>
            <pc:docMk/>
            <pc:sldMk cId="2806676008" sldId="283"/>
            <ac:spMk id="13" creationId="{AEFD629D-76E1-C52C-DC96-7C3BC8D7DCAC}"/>
          </ac:spMkLst>
        </pc:spChg>
        <pc:spChg chg="mod modVis">
          <ac:chgData name="Natakala, Dak" userId="cd0822e5-8453-49cd-b7f2-0e1ddb2cf849" providerId="ADAL" clId="{7B62E480-7981-4CB4-8BDC-B43B16217FDC}" dt="2023-08-24T11:38:19.995" v="14167" actId="962"/>
          <ac:spMkLst>
            <pc:docMk/>
            <pc:sldMk cId="2806676008" sldId="283"/>
            <ac:spMk id="14" creationId="{07D8AF70-B21A-A1A3-2E19-C068C5CAE7DD}"/>
          </ac:spMkLst>
        </pc:spChg>
        <pc:spChg chg="mod modVis">
          <ac:chgData name="Natakala, Dak" userId="cd0822e5-8453-49cd-b7f2-0e1ddb2cf849" providerId="ADAL" clId="{7B62E480-7981-4CB4-8BDC-B43B16217FDC}" dt="2023-08-24T11:38:20.001" v="14168" actId="962"/>
          <ac:spMkLst>
            <pc:docMk/>
            <pc:sldMk cId="2806676008" sldId="283"/>
            <ac:spMk id="15" creationId="{BAECB78B-2D2A-A07B-31F0-9A7992A17DC9}"/>
          </ac:spMkLst>
        </pc:spChg>
        <pc:spChg chg="mod modVis">
          <ac:chgData name="Natakala, Dak" userId="cd0822e5-8453-49cd-b7f2-0e1ddb2cf849" providerId="ADAL" clId="{7B62E480-7981-4CB4-8BDC-B43B16217FDC}" dt="2023-08-24T11:38:20.006" v="14169" actId="962"/>
          <ac:spMkLst>
            <pc:docMk/>
            <pc:sldMk cId="2806676008" sldId="283"/>
            <ac:spMk id="16" creationId="{A17BC9CE-DD18-68DD-367D-E8B80030C409}"/>
          </ac:spMkLst>
        </pc:spChg>
        <pc:spChg chg="mod modVis">
          <ac:chgData name="Natakala, Dak" userId="cd0822e5-8453-49cd-b7f2-0e1ddb2cf849" providerId="ADAL" clId="{7B62E480-7981-4CB4-8BDC-B43B16217FDC}" dt="2023-08-24T11:38:20.012" v="14170" actId="962"/>
          <ac:spMkLst>
            <pc:docMk/>
            <pc:sldMk cId="2806676008" sldId="283"/>
            <ac:spMk id="17" creationId="{30A2D679-47BD-90C9-6B0F-A18BC30EAB2C}"/>
          </ac:spMkLst>
        </pc:spChg>
        <pc:spChg chg="mod modVis">
          <ac:chgData name="Natakala, Dak" userId="cd0822e5-8453-49cd-b7f2-0e1ddb2cf849" providerId="ADAL" clId="{7B62E480-7981-4CB4-8BDC-B43B16217FDC}" dt="2023-08-24T11:38:20.019" v="14171" actId="962"/>
          <ac:spMkLst>
            <pc:docMk/>
            <pc:sldMk cId="2806676008" sldId="283"/>
            <ac:spMk id="18" creationId="{2C99C2D7-DCAA-FA8B-1D0E-2E57AB804223}"/>
          </ac:spMkLst>
        </pc:spChg>
        <pc:spChg chg="mod modVis">
          <ac:chgData name="Natakala, Dak" userId="cd0822e5-8453-49cd-b7f2-0e1ddb2cf849" providerId="ADAL" clId="{7B62E480-7981-4CB4-8BDC-B43B16217FDC}" dt="2023-08-24T11:38:20.027" v="14172" actId="962"/>
          <ac:spMkLst>
            <pc:docMk/>
            <pc:sldMk cId="2806676008" sldId="283"/>
            <ac:spMk id="19" creationId="{709EE9D0-B02D-FF1A-39F8-389FCCB99245}"/>
          </ac:spMkLst>
        </pc:spChg>
        <pc:spChg chg="mod modVis">
          <ac:chgData name="Natakala, Dak" userId="cd0822e5-8453-49cd-b7f2-0e1ddb2cf849" providerId="ADAL" clId="{7B62E480-7981-4CB4-8BDC-B43B16217FDC}" dt="2023-08-24T11:38:20.034" v="14173" actId="962"/>
          <ac:spMkLst>
            <pc:docMk/>
            <pc:sldMk cId="2806676008" sldId="283"/>
            <ac:spMk id="20" creationId="{D6571CA9-250C-C47D-42D0-D8758C825D1D}"/>
          </ac:spMkLst>
        </pc:spChg>
        <pc:spChg chg="mod modVis">
          <ac:chgData name="Natakala, Dak" userId="cd0822e5-8453-49cd-b7f2-0e1ddb2cf849" providerId="ADAL" clId="{7B62E480-7981-4CB4-8BDC-B43B16217FDC}" dt="2023-08-24T11:38:20.040" v="14174" actId="962"/>
          <ac:spMkLst>
            <pc:docMk/>
            <pc:sldMk cId="2806676008" sldId="283"/>
            <ac:spMk id="21" creationId="{5E8E5521-C890-132D-AD71-ADBDAED94796}"/>
          </ac:spMkLst>
        </pc:spChg>
        <pc:spChg chg="mod modVis">
          <ac:chgData name="Natakala, Dak" userId="cd0822e5-8453-49cd-b7f2-0e1ddb2cf849" providerId="ADAL" clId="{7B62E480-7981-4CB4-8BDC-B43B16217FDC}" dt="2023-08-24T11:38:20.048" v="14175" actId="962"/>
          <ac:spMkLst>
            <pc:docMk/>
            <pc:sldMk cId="2806676008" sldId="283"/>
            <ac:spMk id="22" creationId="{4422B894-50EF-261C-EFDB-D4F01AA39A98}"/>
          </ac:spMkLst>
        </pc:spChg>
        <pc:spChg chg="mod modVis">
          <ac:chgData name="Natakala, Dak" userId="cd0822e5-8453-49cd-b7f2-0e1ddb2cf849" providerId="ADAL" clId="{7B62E480-7981-4CB4-8BDC-B43B16217FDC}" dt="2023-08-24T11:38:20.054" v="14176" actId="962"/>
          <ac:spMkLst>
            <pc:docMk/>
            <pc:sldMk cId="2806676008" sldId="283"/>
            <ac:spMk id="23" creationId="{8B3DCF94-1DCA-0AD9-6189-3C04824A7B1D}"/>
          </ac:spMkLst>
        </pc:spChg>
        <pc:spChg chg="mod modVis">
          <ac:chgData name="Natakala, Dak" userId="cd0822e5-8453-49cd-b7f2-0e1ddb2cf849" providerId="ADAL" clId="{7B62E480-7981-4CB4-8BDC-B43B16217FDC}" dt="2023-08-24T11:38:20.059" v="14177" actId="962"/>
          <ac:spMkLst>
            <pc:docMk/>
            <pc:sldMk cId="2806676008" sldId="283"/>
            <ac:spMk id="24" creationId="{E5BEF697-276F-B2CA-1C85-3208BFD80A63}"/>
          </ac:spMkLst>
        </pc:spChg>
        <pc:spChg chg="mod modVis">
          <ac:chgData name="Natakala, Dak" userId="cd0822e5-8453-49cd-b7f2-0e1ddb2cf849" providerId="ADAL" clId="{7B62E480-7981-4CB4-8BDC-B43B16217FDC}" dt="2023-08-24T11:38:20.066" v="14178" actId="962"/>
          <ac:spMkLst>
            <pc:docMk/>
            <pc:sldMk cId="2806676008" sldId="283"/>
            <ac:spMk id="25" creationId="{32D799FC-1E8F-AB8D-0918-3AB9436A0A0E}"/>
          </ac:spMkLst>
        </pc:spChg>
        <pc:spChg chg="mod modVis">
          <ac:chgData name="Natakala, Dak" userId="cd0822e5-8453-49cd-b7f2-0e1ddb2cf849" providerId="ADAL" clId="{7B62E480-7981-4CB4-8BDC-B43B16217FDC}" dt="2023-08-24T11:38:20.072" v="14179" actId="962"/>
          <ac:spMkLst>
            <pc:docMk/>
            <pc:sldMk cId="2806676008" sldId="283"/>
            <ac:spMk id="26" creationId="{3D02AE95-70BB-C8CA-BCA7-D8F6A8F630BB}"/>
          </ac:spMkLst>
        </pc:spChg>
        <pc:spChg chg="mod modVis">
          <ac:chgData name="Natakala, Dak" userId="cd0822e5-8453-49cd-b7f2-0e1ddb2cf849" providerId="ADAL" clId="{7B62E480-7981-4CB4-8BDC-B43B16217FDC}" dt="2023-08-24T11:38:20.080" v="14180" actId="962"/>
          <ac:spMkLst>
            <pc:docMk/>
            <pc:sldMk cId="2806676008" sldId="283"/>
            <ac:spMk id="27" creationId="{9124ECB8-7308-2AD3-1311-9AFDF66C61F7}"/>
          </ac:spMkLst>
        </pc:spChg>
        <pc:spChg chg="mod modVis">
          <ac:chgData name="Natakala, Dak" userId="cd0822e5-8453-49cd-b7f2-0e1ddb2cf849" providerId="ADAL" clId="{7B62E480-7981-4CB4-8BDC-B43B16217FDC}" dt="2023-08-24T11:38:20.087" v="14181" actId="962"/>
          <ac:spMkLst>
            <pc:docMk/>
            <pc:sldMk cId="2806676008" sldId="283"/>
            <ac:spMk id="28" creationId="{57C0B5E3-34D6-8AEF-75FB-D6418D2AE2F0}"/>
          </ac:spMkLst>
        </pc:spChg>
        <pc:spChg chg="mod modVis">
          <ac:chgData name="Natakala, Dak" userId="cd0822e5-8453-49cd-b7f2-0e1ddb2cf849" providerId="ADAL" clId="{7B62E480-7981-4CB4-8BDC-B43B16217FDC}" dt="2023-08-24T11:38:20.095" v="14182" actId="962"/>
          <ac:spMkLst>
            <pc:docMk/>
            <pc:sldMk cId="2806676008" sldId="283"/>
            <ac:spMk id="29" creationId="{10BE656E-D681-7C99-00A8-BD3E5B3DB966}"/>
          </ac:spMkLst>
        </pc:spChg>
        <pc:spChg chg="mod modVis">
          <ac:chgData name="Natakala, Dak" userId="cd0822e5-8453-49cd-b7f2-0e1ddb2cf849" providerId="ADAL" clId="{7B62E480-7981-4CB4-8BDC-B43B16217FDC}" dt="2023-08-24T11:38:20.102" v="14183" actId="962"/>
          <ac:spMkLst>
            <pc:docMk/>
            <pc:sldMk cId="2806676008" sldId="283"/>
            <ac:spMk id="30" creationId="{8C42CF16-D3DE-FBBB-15D6-6926D317B47F}"/>
          </ac:spMkLst>
        </pc:spChg>
        <pc:spChg chg="mod modVis">
          <ac:chgData name="Natakala, Dak" userId="cd0822e5-8453-49cd-b7f2-0e1ddb2cf849" providerId="ADAL" clId="{7B62E480-7981-4CB4-8BDC-B43B16217FDC}" dt="2023-08-24T11:38:20.108" v="14184" actId="962"/>
          <ac:spMkLst>
            <pc:docMk/>
            <pc:sldMk cId="2806676008" sldId="283"/>
            <ac:spMk id="31" creationId="{AFBA7318-0980-44FA-3C95-D114990BF2D4}"/>
          </ac:spMkLst>
        </pc:spChg>
        <pc:spChg chg="mod modVis">
          <ac:chgData name="Natakala, Dak" userId="cd0822e5-8453-49cd-b7f2-0e1ddb2cf849" providerId="ADAL" clId="{7B62E480-7981-4CB4-8BDC-B43B16217FDC}" dt="2023-08-24T11:38:20.114" v="14185" actId="962"/>
          <ac:spMkLst>
            <pc:docMk/>
            <pc:sldMk cId="2806676008" sldId="283"/>
            <ac:spMk id="32" creationId="{33D60294-0BE7-A751-E09D-A74FD730C839}"/>
          </ac:spMkLst>
        </pc:spChg>
        <pc:spChg chg="mod modVis">
          <ac:chgData name="Natakala, Dak" userId="cd0822e5-8453-49cd-b7f2-0e1ddb2cf849" providerId="ADAL" clId="{7B62E480-7981-4CB4-8BDC-B43B16217FDC}" dt="2023-08-24T11:38:20.120" v="14186" actId="962"/>
          <ac:spMkLst>
            <pc:docMk/>
            <pc:sldMk cId="2806676008" sldId="283"/>
            <ac:spMk id="33" creationId="{707CE3D6-9ADE-FF34-0623-2B07639BC3A0}"/>
          </ac:spMkLst>
        </pc:spChg>
        <pc:spChg chg="mod modVis">
          <ac:chgData name="Natakala, Dak" userId="cd0822e5-8453-49cd-b7f2-0e1ddb2cf849" providerId="ADAL" clId="{7B62E480-7981-4CB4-8BDC-B43B16217FDC}" dt="2023-08-24T11:38:20.127" v="14187" actId="962"/>
          <ac:spMkLst>
            <pc:docMk/>
            <pc:sldMk cId="2806676008" sldId="283"/>
            <ac:spMk id="34" creationId="{E5CAF0A1-D001-88BD-5F8C-CA2A5234EE94}"/>
          </ac:spMkLst>
        </pc:spChg>
        <pc:spChg chg="mod modVis">
          <ac:chgData name="Natakala, Dak" userId="cd0822e5-8453-49cd-b7f2-0e1ddb2cf849" providerId="ADAL" clId="{7B62E480-7981-4CB4-8BDC-B43B16217FDC}" dt="2023-08-24T11:38:20.135" v="14188" actId="962"/>
          <ac:spMkLst>
            <pc:docMk/>
            <pc:sldMk cId="2806676008" sldId="283"/>
            <ac:spMk id="35" creationId="{2404FA33-B42D-F3FB-E961-087FFB3C4524}"/>
          </ac:spMkLst>
        </pc:spChg>
        <pc:spChg chg="mod modVis">
          <ac:chgData name="Natakala, Dak" userId="cd0822e5-8453-49cd-b7f2-0e1ddb2cf849" providerId="ADAL" clId="{7B62E480-7981-4CB4-8BDC-B43B16217FDC}" dt="2023-08-24T11:38:20.141" v="14189" actId="962"/>
          <ac:spMkLst>
            <pc:docMk/>
            <pc:sldMk cId="2806676008" sldId="283"/>
            <ac:spMk id="36" creationId="{C1701DCF-EE43-683B-9A25-5B4A55CA3671}"/>
          </ac:spMkLst>
        </pc:spChg>
        <pc:spChg chg="mod modVis">
          <ac:chgData name="Natakala, Dak" userId="cd0822e5-8453-49cd-b7f2-0e1ddb2cf849" providerId="ADAL" clId="{7B62E480-7981-4CB4-8BDC-B43B16217FDC}" dt="2023-08-24T11:38:20.148" v="14190" actId="962"/>
          <ac:spMkLst>
            <pc:docMk/>
            <pc:sldMk cId="2806676008" sldId="283"/>
            <ac:spMk id="37" creationId="{472E8E58-44C6-DC7F-51AB-E43CDEDC0241}"/>
          </ac:spMkLst>
        </pc:spChg>
        <pc:spChg chg="mod modVis">
          <ac:chgData name="Natakala, Dak" userId="cd0822e5-8453-49cd-b7f2-0e1ddb2cf849" providerId="ADAL" clId="{7B62E480-7981-4CB4-8BDC-B43B16217FDC}" dt="2023-08-24T11:38:20.155" v="14191" actId="962"/>
          <ac:spMkLst>
            <pc:docMk/>
            <pc:sldMk cId="2806676008" sldId="283"/>
            <ac:spMk id="38" creationId="{D6E0676D-C10C-4532-B09E-6729E7A8D175}"/>
          </ac:spMkLst>
        </pc:spChg>
        <pc:spChg chg="mod modVis">
          <ac:chgData name="Natakala, Dak" userId="cd0822e5-8453-49cd-b7f2-0e1ddb2cf849" providerId="ADAL" clId="{7B62E480-7981-4CB4-8BDC-B43B16217FDC}" dt="2023-08-24T11:38:20.161" v="14192" actId="962"/>
          <ac:spMkLst>
            <pc:docMk/>
            <pc:sldMk cId="2806676008" sldId="283"/>
            <ac:spMk id="39" creationId="{00E58EB9-7791-6893-882A-D1A0CE0AB256}"/>
          </ac:spMkLst>
        </pc:spChg>
        <pc:spChg chg="mod modVis">
          <ac:chgData name="Natakala, Dak" userId="cd0822e5-8453-49cd-b7f2-0e1ddb2cf849" providerId="ADAL" clId="{7B62E480-7981-4CB4-8BDC-B43B16217FDC}" dt="2023-08-24T11:38:20.166" v="14193" actId="962"/>
          <ac:spMkLst>
            <pc:docMk/>
            <pc:sldMk cId="2806676008" sldId="283"/>
            <ac:spMk id="40" creationId="{017490EE-0848-F199-C83D-A6CABA917E0D}"/>
          </ac:spMkLst>
        </pc:spChg>
        <pc:spChg chg="mod modVis">
          <ac:chgData name="Natakala, Dak" userId="cd0822e5-8453-49cd-b7f2-0e1ddb2cf849" providerId="ADAL" clId="{7B62E480-7981-4CB4-8BDC-B43B16217FDC}" dt="2023-08-24T11:38:20.171" v="14194" actId="962"/>
          <ac:spMkLst>
            <pc:docMk/>
            <pc:sldMk cId="2806676008" sldId="283"/>
            <ac:spMk id="41" creationId="{B033FD26-23B8-CADA-72E6-FF89DC49E146}"/>
          </ac:spMkLst>
        </pc:spChg>
        <pc:spChg chg="mod modVis">
          <ac:chgData name="Natakala, Dak" userId="cd0822e5-8453-49cd-b7f2-0e1ddb2cf849" providerId="ADAL" clId="{7B62E480-7981-4CB4-8BDC-B43B16217FDC}" dt="2023-08-24T11:38:20.177" v="14195" actId="962"/>
          <ac:spMkLst>
            <pc:docMk/>
            <pc:sldMk cId="2806676008" sldId="283"/>
            <ac:spMk id="42" creationId="{B3ADECD0-FFE2-5E34-DBF8-2E208FA23F42}"/>
          </ac:spMkLst>
        </pc:spChg>
        <pc:spChg chg="mod modVis">
          <ac:chgData name="Natakala, Dak" userId="cd0822e5-8453-49cd-b7f2-0e1ddb2cf849" providerId="ADAL" clId="{7B62E480-7981-4CB4-8BDC-B43B16217FDC}" dt="2023-08-24T11:38:20.183" v="14196" actId="962"/>
          <ac:spMkLst>
            <pc:docMk/>
            <pc:sldMk cId="2806676008" sldId="283"/>
            <ac:spMk id="43" creationId="{7357F181-1EF3-C907-033A-FC5E9735F860}"/>
          </ac:spMkLst>
        </pc:spChg>
        <pc:spChg chg="mod modVis">
          <ac:chgData name="Natakala, Dak" userId="cd0822e5-8453-49cd-b7f2-0e1ddb2cf849" providerId="ADAL" clId="{7B62E480-7981-4CB4-8BDC-B43B16217FDC}" dt="2023-08-24T11:38:20.189" v="14197" actId="962"/>
          <ac:spMkLst>
            <pc:docMk/>
            <pc:sldMk cId="2806676008" sldId="283"/>
            <ac:spMk id="44" creationId="{3A339B6B-8708-6850-3C38-E69A30B975CE}"/>
          </ac:spMkLst>
        </pc:spChg>
        <pc:spChg chg="mod modVis">
          <ac:chgData name="Natakala, Dak" userId="cd0822e5-8453-49cd-b7f2-0e1ddb2cf849" providerId="ADAL" clId="{7B62E480-7981-4CB4-8BDC-B43B16217FDC}" dt="2023-08-24T11:38:20.196" v="14198" actId="962"/>
          <ac:spMkLst>
            <pc:docMk/>
            <pc:sldMk cId="2806676008" sldId="283"/>
            <ac:spMk id="45" creationId="{5217E063-18AA-0C46-AC97-9A5090438499}"/>
          </ac:spMkLst>
        </pc:spChg>
        <pc:spChg chg="mod modVis">
          <ac:chgData name="Natakala, Dak" userId="cd0822e5-8453-49cd-b7f2-0e1ddb2cf849" providerId="ADAL" clId="{7B62E480-7981-4CB4-8BDC-B43B16217FDC}" dt="2023-08-24T11:38:20.202" v="14199" actId="962"/>
          <ac:spMkLst>
            <pc:docMk/>
            <pc:sldMk cId="2806676008" sldId="283"/>
            <ac:spMk id="46" creationId="{D0744875-3EFB-BC8A-C4C9-516D23E9F533}"/>
          </ac:spMkLst>
        </pc:spChg>
        <pc:spChg chg="mod modVis">
          <ac:chgData name="Natakala, Dak" userId="cd0822e5-8453-49cd-b7f2-0e1ddb2cf849" providerId="ADAL" clId="{7B62E480-7981-4CB4-8BDC-B43B16217FDC}" dt="2023-08-24T11:38:20.210" v="14200" actId="962"/>
          <ac:spMkLst>
            <pc:docMk/>
            <pc:sldMk cId="2806676008" sldId="283"/>
            <ac:spMk id="47" creationId="{3F13688B-27BA-47A9-D70E-CA8B1632B98B}"/>
          </ac:spMkLst>
        </pc:spChg>
        <pc:spChg chg="mod modVis">
          <ac:chgData name="Natakala, Dak" userId="cd0822e5-8453-49cd-b7f2-0e1ddb2cf849" providerId="ADAL" clId="{7B62E480-7981-4CB4-8BDC-B43B16217FDC}" dt="2023-08-24T11:38:20.214" v="14201" actId="962"/>
          <ac:spMkLst>
            <pc:docMk/>
            <pc:sldMk cId="2806676008" sldId="283"/>
            <ac:spMk id="48" creationId="{F5F75042-00F3-461E-688E-6834DD394852}"/>
          </ac:spMkLst>
        </pc:spChg>
        <pc:spChg chg="mod modVis">
          <ac:chgData name="Natakala, Dak" userId="cd0822e5-8453-49cd-b7f2-0e1ddb2cf849" providerId="ADAL" clId="{7B62E480-7981-4CB4-8BDC-B43B16217FDC}" dt="2023-08-24T11:38:20.219" v="14202" actId="962"/>
          <ac:spMkLst>
            <pc:docMk/>
            <pc:sldMk cId="2806676008" sldId="283"/>
            <ac:spMk id="49" creationId="{5BB7CE1A-62C9-2E6B-9F4A-0B21F78AEB0C}"/>
          </ac:spMkLst>
        </pc:spChg>
        <pc:spChg chg="mod modVis">
          <ac:chgData name="Natakala, Dak" userId="cd0822e5-8453-49cd-b7f2-0e1ddb2cf849" providerId="ADAL" clId="{7B62E480-7981-4CB4-8BDC-B43B16217FDC}" dt="2023-08-24T11:38:20.224" v="14203" actId="962"/>
          <ac:spMkLst>
            <pc:docMk/>
            <pc:sldMk cId="2806676008" sldId="283"/>
            <ac:spMk id="50" creationId="{D0D01864-C4F4-7477-BF80-0A18340C4B69}"/>
          </ac:spMkLst>
        </pc:spChg>
        <pc:spChg chg="mod modVis">
          <ac:chgData name="Natakala, Dak" userId="cd0822e5-8453-49cd-b7f2-0e1ddb2cf849" providerId="ADAL" clId="{7B62E480-7981-4CB4-8BDC-B43B16217FDC}" dt="2023-08-24T11:38:20.232" v="14204" actId="962"/>
          <ac:spMkLst>
            <pc:docMk/>
            <pc:sldMk cId="2806676008" sldId="283"/>
            <ac:spMk id="51" creationId="{BFD27EEF-50F0-B54D-E726-AB84A58DB7E1}"/>
          </ac:spMkLst>
        </pc:spChg>
        <pc:spChg chg="mod modVis">
          <ac:chgData name="Natakala, Dak" userId="cd0822e5-8453-49cd-b7f2-0e1ddb2cf849" providerId="ADAL" clId="{7B62E480-7981-4CB4-8BDC-B43B16217FDC}" dt="2023-08-24T11:38:20.238" v="14205" actId="962"/>
          <ac:spMkLst>
            <pc:docMk/>
            <pc:sldMk cId="2806676008" sldId="283"/>
            <ac:spMk id="52" creationId="{7F3F1A8A-D1A2-A68B-81A2-DA430D8FA3A7}"/>
          </ac:spMkLst>
        </pc:spChg>
        <pc:spChg chg="mod modVis">
          <ac:chgData name="Natakala, Dak" userId="cd0822e5-8453-49cd-b7f2-0e1ddb2cf849" providerId="ADAL" clId="{7B62E480-7981-4CB4-8BDC-B43B16217FDC}" dt="2023-08-24T11:38:20.245" v="14206" actId="962"/>
          <ac:spMkLst>
            <pc:docMk/>
            <pc:sldMk cId="2806676008" sldId="283"/>
            <ac:spMk id="53" creationId="{F9E443EF-ACA9-5FDE-60CA-504A827E6506}"/>
          </ac:spMkLst>
        </pc:spChg>
        <pc:spChg chg="mod modVis">
          <ac:chgData name="Natakala, Dak" userId="cd0822e5-8453-49cd-b7f2-0e1ddb2cf849" providerId="ADAL" clId="{7B62E480-7981-4CB4-8BDC-B43B16217FDC}" dt="2023-08-24T11:38:20.251" v="14207" actId="962"/>
          <ac:spMkLst>
            <pc:docMk/>
            <pc:sldMk cId="2806676008" sldId="283"/>
            <ac:spMk id="54" creationId="{C97167ED-0D7B-9250-8EBF-94179BECF221}"/>
          </ac:spMkLst>
        </pc:spChg>
        <pc:spChg chg="mod modVis">
          <ac:chgData name="Natakala, Dak" userId="cd0822e5-8453-49cd-b7f2-0e1ddb2cf849" providerId="ADAL" clId="{7B62E480-7981-4CB4-8BDC-B43B16217FDC}" dt="2023-08-24T11:38:20.256" v="14208" actId="962"/>
          <ac:spMkLst>
            <pc:docMk/>
            <pc:sldMk cId="2806676008" sldId="283"/>
            <ac:spMk id="55" creationId="{FFAFB912-DDF0-E284-A72F-D24FBED241A1}"/>
          </ac:spMkLst>
        </pc:spChg>
        <pc:spChg chg="mod modVis">
          <ac:chgData name="Natakala, Dak" userId="cd0822e5-8453-49cd-b7f2-0e1ddb2cf849" providerId="ADAL" clId="{7B62E480-7981-4CB4-8BDC-B43B16217FDC}" dt="2023-08-24T11:38:20.262" v="14209" actId="962"/>
          <ac:spMkLst>
            <pc:docMk/>
            <pc:sldMk cId="2806676008" sldId="283"/>
            <ac:spMk id="56" creationId="{80DDBF7F-CDC8-656C-01B9-FF561F52363C}"/>
          </ac:spMkLst>
        </pc:spChg>
        <pc:spChg chg="mod modVis">
          <ac:chgData name="Natakala, Dak" userId="cd0822e5-8453-49cd-b7f2-0e1ddb2cf849" providerId="ADAL" clId="{7B62E480-7981-4CB4-8BDC-B43B16217FDC}" dt="2023-08-24T11:38:20.267" v="14210" actId="962"/>
          <ac:spMkLst>
            <pc:docMk/>
            <pc:sldMk cId="2806676008" sldId="283"/>
            <ac:spMk id="57" creationId="{2F45A6D7-8744-1BE6-3325-D491E64918CD}"/>
          </ac:spMkLst>
        </pc:spChg>
        <pc:cxnChg chg="del">
          <ac:chgData name="Natakala, Dak" userId="cd0822e5-8453-49cd-b7f2-0e1ddb2cf849" providerId="ADAL" clId="{7B62E480-7981-4CB4-8BDC-B43B16217FDC}" dt="2023-08-24T11:38:20.831" v="14656" actId="478"/>
          <ac:cxnSpMkLst>
            <pc:docMk/>
            <pc:sldMk cId="2806676008" sldId="283"/>
            <ac:cxnSpMk id="7" creationId="{8EC6C4E3-3EAF-08DD-359A-53D14348B1A9}"/>
          </ac:cxnSpMkLst>
        </pc:cxnChg>
      </pc:sldChg>
      <pc:sldChg chg="del">
        <pc:chgData name="Natakala, Dak" userId="cd0822e5-8453-49cd-b7f2-0e1ddb2cf849" providerId="ADAL" clId="{7B62E480-7981-4CB4-8BDC-B43B16217FDC}" dt="2023-08-24T11:38:20.828" v="14654" actId="2696"/>
        <pc:sldMkLst>
          <pc:docMk/>
          <pc:sldMk cId="2645894364" sldId="284"/>
        </pc:sldMkLst>
      </pc:sldChg>
      <pc:sldChg chg="del">
        <pc:chgData name="Natakala, Dak" userId="cd0822e5-8453-49cd-b7f2-0e1ddb2cf849" providerId="ADAL" clId="{7B62E480-7981-4CB4-8BDC-B43B16217FDC}" dt="2023-08-24T11:38:20.825" v="14653" actId="2696"/>
        <pc:sldMkLst>
          <pc:docMk/>
          <pc:sldMk cId="2496379856" sldId="285"/>
        </pc:sldMkLst>
      </pc:sldChg>
      <pc:sldChg chg="addSp delSp modSp mod ord replTag modNotesTx">
        <pc:chgData name="Natakala, Dak" userId="cd0822e5-8453-49cd-b7f2-0e1ddb2cf849" providerId="ADAL" clId="{7B62E480-7981-4CB4-8BDC-B43B16217FDC}" dt="2023-08-25T10:36:18.093" v="18536" actId="20577"/>
        <pc:sldMkLst>
          <pc:docMk/>
          <pc:sldMk cId="2676839778" sldId="286"/>
        </pc:sldMkLst>
        <pc:spChg chg="del">
          <ac:chgData name="Natakala, Dak" userId="cd0822e5-8453-49cd-b7f2-0e1ddb2cf849" providerId="ADAL" clId="{7B62E480-7981-4CB4-8BDC-B43B16217FDC}" dt="2023-08-24T11:38:20.371" v="14221" actId="478"/>
          <ac:spMkLst>
            <pc:docMk/>
            <pc:sldMk cId="2676839778" sldId="286"/>
            <ac:spMk id="2" creationId="{9F265A8F-B1DC-F1EA-88EC-954ED06FFE06}"/>
          </ac:spMkLst>
        </pc:spChg>
        <pc:spChg chg="del mod ord replST">
          <ac:chgData name="Natakala, Dak" userId="cd0822e5-8453-49cd-b7f2-0e1ddb2cf849" providerId="ADAL" clId="{7B62E480-7981-4CB4-8BDC-B43B16217FDC}" dt="2023-08-24T16:12:00.096" v="16496" actId="478"/>
          <ac:spMkLst>
            <pc:docMk/>
            <pc:sldMk cId="2676839778" sldId="286"/>
            <ac:spMk id="3" creationId="{78237234-4EF0-AD5B-0442-D799F22C5CE4}"/>
          </ac:spMkLst>
        </pc:spChg>
        <pc:spChg chg="del">
          <ac:chgData name="Natakala, Dak" userId="cd0822e5-8453-49cd-b7f2-0e1ddb2cf849" providerId="ADAL" clId="{7B62E480-7981-4CB4-8BDC-B43B16217FDC}" dt="2023-08-24T11:38:20.371" v="14220" actId="478"/>
          <ac:spMkLst>
            <pc:docMk/>
            <pc:sldMk cId="2676839778" sldId="286"/>
            <ac:spMk id="4" creationId="{3F3B556D-8771-0F9C-3483-E6F2CD8D6C47}"/>
          </ac:spMkLst>
        </pc:spChg>
        <pc:spChg chg="del">
          <ac:chgData name="Natakala, Dak" userId="cd0822e5-8453-49cd-b7f2-0e1ddb2cf849" providerId="ADAL" clId="{7B62E480-7981-4CB4-8BDC-B43B16217FDC}" dt="2023-08-24T11:38:20.371" v="14219" actId="478"/>
          <ac:spMkLst>
            <pc:docMk/>
            <pc:sldMk cId="2676839778" sldId="286"/>
            <ac:spMk id="5" creationId="{4E293E58-2355-54EF-EB30-EBB0069009FA}"/>
          </ac:spMkLst>
        </pc:spChg>
        <pc:spChg chg="del mod ord replST">
          <ac:chgData name="Natakala, Dak" userId="cd0822e5-8453-49cd-b7f2-0e1ddb2cf849" providerId="ADAL" clId="{7B62E480-7981-4CB4-8BDC-B43B16217FDC}" dt="2023-08-24T16:12:00.097" v="16497" actId="478"/>
          <ac:spMkLst>
            <pc:docMk/>
            <pc:sldMk cId="2676839778" sldId="286"/>
            <ac:spMk id="6" creationId="{D5F66A15-7ADA-ABAF-BA8A-E1AF1D3B25C6}"/>
          </ac:spMkLst>
        </pc:spChg>
        <pc:spChg chg="replST">
          <ac:chgData name="Natakala, Dak" userId="cd0822e5-8453-49cd-b7f2-0e1ddb2cf849" providerId="ADAL" clId="{7B62E480-7981-4CB4-8BDC-B43B16217FDC}" dt="2023-08-24T11:38:20.475" v="14328"/>
          <ac:spMkLst>
            <pc:docMk/>
            <pc:sldMk cId="2676839778" sldId="286"/>
            <ac:spMk id="7" creationId="{2F3672BA-2D58-CC1C-DDAC-E451B342C7C9}"/>
          </ac:spMkLst>
        </pc:spChg>
        <pc:spChg chg="del mod ord replST">
          <ac:chgData name="Natakala, Dak" userId="cd0822e5-8453-49cd-b7f2-0e1ddb2cf849" providerId="ADAL" clId="{7B62E480-7981-4CB4-8BDC-B43B16217FDC}" dt="2023-08-24T16:12:00.097" v="16498" actId="478"/>
          <ac:spMkLst>
            <pc:docMk/>
            <pc:sldMk cId="2676839778" sldId="286"/>
            <ac:spMk id="8" creationId="{F561E775-BF6E-98F1-3B89-155D24E86F4B}"/>
          </ac:spMkLst>
        </pc:spChg>
        <pc:spChg chg="replST">
          <ac:chgData name="Natakala, Dak" userId="cd0822e5-8453-49cd-b7f2-0e1ddb2cf849" providerId="ADAL" clId="{7B62E480-7981-4CB4-8BDC-B43B16217FDC}" dt="2023-08-24T11:38:20.484" v="14340"/>
          <ac:spMkLst>
            <pc:docMk/>
            <pc:sldMk cId="2676839778" sldId="286"/>
            <ac:spMk id="9" creationId="{3FE93016-B9E6-0BE7-638E-2195415C7120}"/>
          </ac:spMkLst>
        </pc:spChg>
        <pc:spChg chg="del mod ord replST">
          <ac:chgData name="Natakala, Dak" userId="cd0822e5-8453-49cd-b7f2-0e1ddb2cf849" providerId="ADAL" clId="{7B62E480-7981-4CB4-8BDC-B43B16217FDC}" dt="2023-08-24T16:12:00.098" v="16499" actId="478"/>
          <ac:spMkLst>
            <pc:docMk/>
            <pc:sldMk cId="2676839778" sldId="286"/>
            <ac:spMk id="10" creationId="{4A4901EE-E43B-16A1-D8C1-50D43B723AF1}"/>
          </ac:spMkLst>
        </pc:spChg>
        <pc:spChg chg="replST">
          <ac:chgData name="Natakala, Dak" userId="cd0822e5-8453-49cd-b7f2-0e1ddb2cf849" providerId="ADAL" clId="{7B62E480-7981-4CB4-8BDC-B43B16217FDC}" dt="2023-08-24T11:38:20.497" v="14352"/>
          <ac:spMkLst>
            <pc:docMk/>
            <pc:sldMk cId="2676839778" sldId="286"/>
            <ac:spMk id="11" creationId="{25B11F5D-9DC3-E8EC-201B-F0FCCCF5A4DA}"/>
          </ac:spMkLst>
        </pc:spChg>
        <pc:spChg chg="del ord replST">
          <ac:chgData name="Natakala, Dak" userId="cd0822e5-8453-49cd-b7f2-0e1ddb2cf849" providerId="ADAL" clId="{7B62E480-7981-4CB4-8BDC-B43B16217FDC}" dt="2023-08-24T16:12:00.099" v="16500" actId="478"/>
          <ac:spMkLst>
            <pc:docMk/>
            <pc:sldMk cId="2676839778" sldId="286"/>
            <ac:spMk id="12" creationId="{97823ACA-2266-516B-9544-341E0B8CEC82}"/>
          </ac:spMkLst>
        </pc:spChg>
        <pc:spChg chg="del mod ord replST">
          <ac:chgData name="Natakala, Dak" userId="cd0822e5-8453-49cd-b7f2-0e1ddb2cf849" providerId="ADAL" clId="{7B62E480-7981-4CB4-8BDC-B43B16217FDC}" dt="2023-08-24T16:12:00.099" v="16501" actId="478"/>
          <ac:spMkLst>
            <pc:docMk/>
            <pc:sldMk cId="2676839778" sldId="286"/>
            <ac:spMk id="13" creationId="{C8F8C8EE-004B-B120-D333-5B4388FCD281}"/>
          </ac:spMkLst>
        </pc:spChg>
        <pc:spChg chg="replST">
          <ac:chgData name="Natakala, Dak" userId="cd0822e5-8453-49cd-b7f2-0e1ddb2cf849" providerId="ADAL" clId="{7B62E480-7981-4CB4-8BDC-B43B16217FDC}" dt="2023-08-24T11:38:20.511" v="14365"/>
          <ac:spMkLst>
            <pc:docMk/>
            <pc:sldMk cId="2676839778" sldId="286"/>
            <ac:spMk id="14" creationId="{B38FA5FA-B1D5-3AAE-A988-E837462E85C1}"/>
          </ac:spMkLst>
        </pc:spChg>
        <pc:spChg chg="del mod ord replST">
          <ac:chgData name="Natakala, Dak" userId="cd0822e5-8453-49cd-b7f2-0e1ddb2cf849" providerId="ADAL" clId="{7B62E480-7981-4CB4-8BDC-B43B16217FDC}" dt="2023-08-24T16:12:00.100" v="16502" actId="478"/>
          <ac:spMkLst>
            <pc:docMk/>
            <pc:sldMk cId="2676839778" sldId="286"/>
            <ac:spMk id="15" creationId="{6A7D0C31-6246-3FEA-84CA-72DC80B0B2E3}"/>
          </ac:spMkLst>
        </pc:spChg>
        <pc:spChg chg="replST">
          <ac:chgData name="Natakala, Dak" userId="cd0822e5-8453-49cd-b7f2-0e1ddb2cf849" providerId="ADAL" clId="{7B62E480-7981-4CB4-8BDC-B43B16217FDC}" dt="2023-08-24T11:38:20.521" v="14377"/>
          <ac:spMkLst>
            <pc:docMk/>
            <pc:sldMk cId="2676839778" sldId="286"/>
            <ac:spMk id="16" creationId="{EF734C6B-674F-A272-113D-193E9804F9AC}"/>
          </ac:spMkLst>
        </pc:spChg>
        <pc:spChg chg="del mod ord replST">
          <ac:chgData name="Natakala, Dak" userId="cd0822e5-8453-49cd-b7f2-0e1ddb2cf849" providerId="ADAL" clId="{7B62E480-7981-4CB4-8BDC-B43B16217FDC}" dt="2023-08-24T16:12:00.101" v="16503" actId="478"/>
          <ac:spMkLst>
            <pc:docMk/>
            <pc:sldMk cId="2676839778" sldId="286"/>
            <ac:spMk id="17" creationId="{B2FCB46C-7D93-6C88-DC24-21DC8F2B1F0C}"/>
          </ac:spMkLst>
        </pc:spChg>
        <pc:spChg chg="replST">
          <ac:chgData name="Natakala, Dak" userId="cd0822e5-8453-49cd-b7f2-0e1ddb2cf849" providerId="ADAL" clId="{7B62E480-7981-4CB4-8BDC-B43B16217FDC}" dt="2023-08-24T11:38:20.532" v="14389"/>
          <ac:spMkLst>
            <pc:docMk/>
            <pc:sldMk cId="2676839778" sldId="286"/>
            <ac:spMk id="18" creationId="{D21A6878-501E-B7F8-0668-C3B055DBDF9B}"/>
          </ac:spMkLst>
        </pc:spChg>
        <pc:spChg chg="add mod">
          <ac:chgData name="Natakala, Dak" userId="cd0822e5-8453-49cd-b7f2-0e1ddb2cf849" providerId="ADAL" clId="{7B62E480-7981-4CB4-8BDC-B43B16217FDC}" dt="2023-08-24T16:12:00.096" v="16496" actId="478"/>
          <ac:spMkLst>
            <pc:docMk/>
            <pc:sldMk cId="2676839778" sldId="286"/>
            <ac:spMk id="20" creationId="{1BB9D760-2AA8-CDF6-AD67-7BD5B478018C}"/>
          </ac:spMkLst>
        </pc:spChg>
        <pc:spChg chg="del mod ord replST">
          <ac:chgData name="Natakala, Dak" userId="cd0822e5-8453-49cd-b7f2-0e1ddb2cf849" providerId="ADAL" clId="{7B62E480-7981-4CB4-8BDC-B43B16217FDC}" dt="2023-08-25T08:50:43.594" v="16872" actId="478"/>
          <ac:spMkLst>
            <pc:docMk/>
            <pc:sldMk cId="2676839778" sldId="286"/>
            <ac:spMk id="21" creationId="{8005FF78-DA18-AB25-5179-F26077A142AC}"/>
          </ac:spMkLst>
        </pc:spChg>
        <pc:spChg chg="del">
          <ac:chgData name="Natakala, Dak" userId="cd0822e5-8453-49cd-b7f2-0e1ddb2cf849" providerId="ADAL" clId="{7B62E480-7981-4CB4-8BDC-B43B16217FDC}" dt="2023-08-24T16:12:00.114" v="16506" actId="478"/>
          <ac:spMkLst>
            <pc:docMk/>
            <pc:sldMk cId="2676839778" sldId="286"/>
            <ac:spMk id="22" creationId="{BAE2AAB4-5D48-96E2-E237-59221F56A9F6}"/>
          </ac:spMkLst>
        </pc:spChg>
        <pc:spChg chg="del">
          <ac:chgData name="Natakala, Dak" userId="cd0822e5-8453-49cd-b7f2-0e1ddb2cf849" providerId="ADAL" clId="{7B62E480-7981-4CB4-8BDC-B43B16217FDC}" dt="2023-08-24T16:12:00.113" v="16504" actId="478"/>
          <ac:spMkLst>
            <pc:docMk/>
            <pc:sldMk cId="2676839778" sldId="286"/>
            <ac:spMk id="23" creationId="{E963691D-680B-2E85-588C-1FB94180B5A5}"/>
          </ac:spMkLst>
        </pc:spChg>
        <pc:spChg chg="del">
          <ac:chgData name="Natakala, Dak" userId="cd0822e5-8453-49cd-b7f2-0e1ddb2cf849" providerId="ADAL" clId="{7B62E480-7981-4CB4-8BDC-B43B16217FDC}" dt="2023-08-24T16:12:00.114" v="16505" actId="478"/>
          <ac:spMkLst>
            <pc:docMk/>
            <pc:sldMk cId="2676839778" sldId="286"/>
            <ac:spMk id="24" creationId="{00CC1571-5751-BCC8-8B7B-CE78C619D084}"/>
          </ac:spMkLst>
        </pc:spChg>
        <pc:spChg chg="del mod ord replST">
          <ac:chgData name="Natakala, Dak" userId="cd0822e5-8453-49cd-b7f2-0e1ddb2cf849" providerId="ADAL" clId="{7B62E480-7981-4CB4-8BDC-B43B16217FDC}" dt="2023-08-25T08:50:43.595" v="16873" actId="478"/>
          <ac:spMkLst>
            <pc:docMk/>
            <pc:sldMk cId="2676839778" sldId="286"/>
            <ac:spMk id="26" creationId="{E055782C-1FFD-944B-7E0A-C3739BCF2FA2}"/>
          </ac:spMkLst>
        </pc:spChg>
        <pc:spChg chg="replST">
          <ac:chgData name="Natakala, Dak" userId="cd0822e5-8453-49cd-b7f2-0e1ddb2cf849" providerId="ADAL" clId="{7B62E480-7981-4CB4-8BDC-B43B16217FDC}" dt="2023-08-24T16:12:00.343" v="16684"/>
          <ac:spMkLst>
            <pc:docMk/>
            <pc:sldMk cId="2676839778" sldId="286"/>
            <ac:spMk id="27" creationId="{55365A91-CDCA-FF01-0900-C4C2E6DFDD9F}"/>
          </ac:spMkLst>
        </pc:spChg>
        <pc:spChg chg="del mod ord replST">
          <ac:chgData name="Natakala, Dak" userId="cd0822e5-8453-49cd-b7f2-0e1ddb2cf849" providerId="ADAL" clId="{7B62E480-7981-4CB4-8BDC-B43B16217FDC}" dt="2023-08-25T08:50:43.595" v="16874" actId="478"/>
          <ac:spMkLst>
            <pc:docMk/>
            <pc:sldMk cId="2676839778" sldId="286"/>
            <ac:spMk id="28" creationId="{A190050A-DCD3-5D53-B8FC-C23E83DEE0CC}"/>
          </ac:spMkLst>
        </pc:spChg>
        <pc:spChg chg="replST">
          <ac:chgData name="Natakala, Dak" userId="cd0822e5-8453-49cd-b7f2-0e1ddb2cf849" providerId="ADAL" clId="{7B62E480-7981-4CB4-8BDC-B43B16217FDC}" dt="2023-08-24T16:12:00.354" v="16696"/>
          <ac:spMkLst>
            <pc:docMk/>
            <pc:sldMk cId="2676839778" sldId="286"/>
            <ac:spMk id="29" creationId="{2D0A5114-AA36-5FD2-251C-AAF8ACAB8ECF}"/>
          </ac:spMkLst>
        </pc:spChg>
        <pc:spChg chg="del mod ord replST">
          <ac:chgData name="Natakala, Dak" userId="cd0822e5-8453-49cd-b7f2-0e1ddb2cf849" providerId="ADAL" clId="{7B62E480-7981-4CB4-8BDC-B43B16217FDC}" dt="2023-08-25T08:50:43.596" v="16875" actId="478"/>
          <ac:spMkLst>
            <pc:docMk/>
            <pc:sldMk cId="2676839778" sldId="286"/>
            <ac:spMk id="30" creationId="{3A01BF8B-AA83-E6E6-F03E-95969CA0893A}"/>
          </ac:spMkLst>
        </pc:spChg>
        <pc:spChg chg="replST">
          <ac:chgData name="Natakala, Dak" userId="cd0822e5-8453-49cd-b7f2-0e1ddb2cf849" providerId="ADAL" clId="{7B62E480-7981-4CB4-8BDC-B43B16217FDC}" dt="2023-08-24T16:12:00.364" v="16708"/>
          <ac:spMkLst>
            <pc:docMk/>
            <pc:sldMk cId="2676839778" sldId="286"/>
            <ac:spMk id="31" creationId="{E5384ED0-2885-DB67-D3AC-5DCAF8578C80}"/>
          </ac:spMkLst>
        </pc:spChg>
        <pc:spChg chg="del ord replST">
          <ac:chgData name="Natakala, Dak" userId="cd0822e5-8453-49cd-b7f2-0e1ddb2cf849" providerId="ADAL" clId="{7B62E480-7981-4CB4-8BDC-B43B16217FDC}" dt="2023-08-25T08:50:43.597" v="16876" actId="478"/>
          <ac:spMkLst>
            <pc:docMk/>
            <pc:sldMk cId="2676839778" sldId="286"/>
            <ac:spMk id="32" creationId="{B3E5070D-71ED-CFAC-C9E1-AA7AD0179D2E}"/>
          </ac:spMkLst>
        </pc:spChg>
        <pc:spChg chg="del mod ord replST">
          <ac:chgData name="Natakala, Dak" userId="cd0822e5-8453-49cd-b7f2-0e1ddb2cf849" providerId="ADAL" clId="{7B62E480-7981-4CB4-8BDC-B43B16217FDC}" dt="2023-08-25T08:50:43.597" v="16877" actId="478"/>
          <ac:spMkLst>
            <pc:docMk/>
            <pc:sldMk cId="2676839778" sldId="286"/>
            <ac:spMk id="33" creationId="{F19122F0-3364-6B6D-08DD-C85B622EDD8C}"/>
          </ac:spMkLst>
        </pc:spChg>
        <pc:spChg chg="replST">
          <ac:chgData name="Natakala, Dak" userId="cd0822e5-8453-49cd-b7f2-0e1ddb2cf849" providerId="ADAL" clId="{7B62E480-7981-4CB4-8BDC-B43B16217FDC}" dt="2023-08-24T16:12:00.376" v="16721"/>
          <ac:spMkLst>
            <pc:docMk/>
            <pc:sldMk cId="2676839778" sldId="286"/>
            <ac:spMk id="34" creationId="{6AED7FC1-41F6-0086-29A4-13B9B861A322}"/>
          </ac:spMkLst>
        </pc:spChg>
        <pc:spChg chg="del mod ord replST">
          <ac:chgData name="Natakala, Dak" userId="cd0822e5-8453-49cd-b7f2-0e1ddb2cf849" providerId="ADAL" clId="{7B62E480-7981-4CB4-8BDC-B43B16217FDC}" dt="2023-08-25T08:50:43.597" v="16878" actId="478"/>
          <ac:spMkLst>
            <pc:docMk/>
            <pc:sldMk cId="2676839778" sldId="286"/>
            <ac:spMk id="35" creationId="{BCFF1EE4-31C2-1D60-1BD9-4B6D9542C0B2}"/>
          </ac:spMkLst>
        </pc:spChg>
        <pc:spChg chg="replST">
          <ac:chgData name="Natakala, Dak" userId="cd0822e5-8453-49cd-b7f2-0e1ddb2cf849" providerId="ADAL" clId="{7B62E480-7981-4CB4-8BDC-B43B16217FDC}" dt="2023-08-24T16:12:00.385" v="16733"/>
          <ac:spMkLst>
            <pc:docMk/>
            <pc:sldMk cId="2676839778" sldId="286"/>
            <ac:spMk id="36" creationId="{2C95BBB4-3F98-7D82-29DA-99FCB579EF83}"/>
          </ac:spMkLst>
        </pc:spChg>
        <pc:spChg chg="del mod ord replST">
          <ac:chgData name="Natakala, Dak" userId="cd0822e5-8453-49cd-b7f2-0e1ddb2cf849" providerId="ADAL" clId="{7B62E480-7981-4CB4-8BDC-B43B16217FDC}" dt="2023-08-25T08:50:43.598" v="16879" actId="478"/>
          <ac:spMkLst>
            <pc:docMk/>
            <pc:sldMk cId="2676839778" sldId="286"/>
            <ac:spMk id="37" creationId="{361355A6-4EF9-DFA3-2731-65BD1467EB8A}"/>
          </ac:spMkLst>
        </pc:spChg>
        <pc:spChg chg="replST">
          <ac:chgData name="Natakala, Dak" userId="cd0822e5-8453-49cd-b7f2-0e1ddb2cf849" providerId="ADAL" clId="{7B62E480-7981-4CB4-8BDC-B43B16217FDC}" dt="2023-08-24T16:12:00.396" v="16745"/>
          <ac:spMkLst>
            <pc:docMk/>
            <pc:sldMk cId="2676839778" sldId="286"/>
            <ac:spMk id="38" creationId="{D53745C7-3EBF-5296-3943-640AA82317ED}"/>
          </ac:spMkLst>
        </pc:spChg>
        <pc:spChg chg="add mod">
          <ac:chgData name="Natakala, Dak" userId="cd0822e5-8453-49cd-b7f2-0e1ddb2cf849" providerId="ADAL" clId="{7B62E480-7981-4CB4-8BDC-B43B16217FDC}" dt="2023-08-25T08:50:43.594" v="16872" actId="478"/>
          <ac:spMkLst>
            <pc:docMk/>
            <pc:sldMk cId="2676839778" sldId="286"/>
            <ac:spMk id="43" creationId="{BA08D881-2D1D-67B4-C19E-E2E1EA6F3409}"/>
          </ac:spMkLst>
        </pc:spChg>
        <pc:spChg chg="mod ord replST">
          <ac:chgData name="Natakala, Dak" userId="cd0822e5-8453-49cd-b7f2-0e1ddb2cf849" providerId="ADAL" clId="{7B62E480-7981-4CB4-8BDC-B43B16217FDC}" dt="2023-08-25T08:50:43.894" v="17126"/>
          <ac:spMkLst>
            <pc:docMk/>
            <pc:sldMk cId="2676839778" sldId="286"/>
            <ac:spMk id="44" creationId="{2CFCD3CD-C9ED-788A-9AD4-9719366DD5AC}"/>
          </ac:spMkLst>
        </pc:spChg>
        <pc:spChg chg="del">
          <ac:chgData name="Natakala, Dak" userId="cd0822e5-8453-49cd-b7f2-0e1ddb2cf849" providerId="ADAL" clId="{7B62E480-7981-4CB4-8BDC-B43B16217FDC}" dt="2023-08-25T08:50:43.602" v="16882" actId="478"/>
          <ac:spMkLst>
            <pc:docMk/>
            <pc:sldMk cId="2676839778" sldId="286"/>
            <ac:spMk id="45" creationId="{48C0B752-BFB5-91E4-D449-2367364806E0}"/>
          </ac:spMkLst>
        </pc:spChg>
        <pc:spChg chg="del">
          <ac:chgData name="Natakala, Dak" userId="cd0822e5-8453-49cd-b7f2-0e1ddb2cf849" providerId="ADAL" clId="{7B62E480-7981-4CB4-8BDC-B43B16217FDC}" dt="2023-08-25T08:50:43.601" v="16880" actId="478"/>
          <ac:spMkLst>
            <pc:docMk/>
            <pc:sldMk cId="2676839778" sldId="286"/>
            <ac:spMk id="46" creationId="{CB387658-734F-4C53-904A-BFAC2AA79F78}"/>
          </ac:spMkLst>
        </pc:spChg>
        <pc:spChg chg="del">
          <ac:chgData name="Natakala, Dak" userId="cd0822e5-8453-49cd-b7f2-0e1ddb2cf849" providerId="ADAL" clId="{7B62E480-7981-4CB4-8BDC-B43B16217FDC}" dt="2023-08-25T08:50:43.601" v="16881" actId="478"/>
          <ac:spMkLst>
            <pc:docMk/>
            <pc:sldMk cId="2676839778" sldId="286"/>
            <ac:spMk id="47" creationId="{F5048C0F-05D4-57B2-C843-ADA0FE71F161}"/>
          </ac:spMkLst>
        </pc:spChg>
        <pc:spChg chg="mod ord replST">
          <ac:chgData name="Natakala, Dak" userId="cd0822e5-8453-49cd-b7f2-0e1ddb2cf849" providerId="ADAL" clId="{7B62E480-7981-4CB4-8BDC-B43B16217FDC}" dt="2023-08-25T08:50:43.895" v="17127"/>
          <ac:spMkLst>
            <pc:docMk/>
            <pc:sldMk cId="2676839778" sldId="286"/>
            <ac:spMk id="48" creationId="{169E7214-D804-ADDF-B900-9308FFC30AD6}"/>
          </ac:spMkLst>
        </pc:spChg>
        <pc:spChg chg="replST">
          <ac:chgData name="Natakala, Dak" userId="cd0822e5-8453-49cd-b7f2-0e1ddb2cf849" providerId="ADAL" clId="{7B62E480-7981-4CB4-8BDC-B43B16217FDC}" dt="2023-08-25T08:50:43.828" v="17064"/>
          <ac:spMkLst>
            <pc:docMk/>
            <pc:sldMk cId="2676839778" sldId="286"/>
            <ac:spMk id="49" creationId="{61339BEE-99FE-A20D-BC64-D4EDAA4B92F1}"/>
          </ac:spMkLst>
        </pc:spChg>
        <pc:spChg chg="mod ord replST">
          <ac:chgData name="Natakala, Dak" userId="cd0822e5-8453-49cd-b7f2-0e1ddb2cf849" providerId="ADAL" clId="{7B62E480-7981-4CB4-8BDC-B43B16217FDC}" dt="2023-08-25T08:50:43.896" v="17128"/>
          <ac:spMkLst>
            <pc:docMk/>
            <pc:sldMk cId="2676839778" sldId="286"/>
            <ac:spMk id="50" creationId="{44DFA919-E033-6F18-3672-680024B085C1}"/>
          </ac:spMkLst>
        </pc:spChg>
        <pc:spChg chg="replST">
          <ac:chgData name="Natakala, Dak" userId="cd0822e5-8453-49cd-b7f2-0e1ddb2cf849" providerId="ADAL" clId="{7B62E480-7981-4CB4-8BDC-B43B16217FDC}" dt="2023-08-25T08:50:43.841" v="17076"/>
          <ac:spMkLst>
            <pc:docMk/>
            <pc:sldMk cId="2676839778" sldId="286"/>
            <ac:spMk id="51" creationId="{310D60FD-1D78-2C35-16A5-8AAD7A6B0856}"/>
          </ac:spMkLst>
        </pc:spChg>
        <pc:spChg chg="mod ord replST">
          <ac:chgData name="Natakala, Dak" userId="cd0822e5-8453-49cd-b7f2-0e1ddb2cf849" providerId="ADAL" clId="{7B62E480-7981-4CB4-8BDC-B43B16217FDC}" dt="2023-08-25T08:50:43.897" v="17129"/>
          <ac:spMkLst>
            <pc:docMk/>
            <pc:sldMk cId="2676839778" sldId="286"/>
            <ac:spMk id="52" creationId="{E6FBBB27-10AB-0F70-6CFA-5A370EFDC65D}"/>
          </ac:spMkLst>
        </pc:spChg>
        <pc:spChg chg="replST">
          <ac:chgData name="Natakala, Dak" userId="cd0822e5-8453-49cd-b7f2-0e1ddb2cf849" providerId="ADAL" clId="{7B62E480-7981-4CB4-8BDC-B43B16217FDC}" dt="2023-08-25T08:50:43.854" v="17088"/>
          <ac:spMkLst>
            <pc:docMk/>
            <pc:sldMk cId="2676839778" sldId="286"/>
            <ac:spMk id="53" creationId="{B5CB77A3-7401-8BEC-4D24-FCA198EE54D9}"/>
          </ac:spMkLst>
        </pc:spChg>
        <pc:spChg chg="ord replST">
          <ac:chgData name="Natakala, Dak" userId="cd0822e5-8453-49cd-b7f2-0e1ddb2cf849" providerId="ADAL" clId="{7B62E480-7981-4CB4-8BDC-B43B16217FDC}" dt="2023-08-25T08:50:43.897" v="17130"/>
          <ac:spMkLst>
            <pc:docMk/>
            <pc:sldMk cId="2676839778" sldId="286"/>
            <ac:spMk id="54" creationId="{5D2F6BFA-C55F-0D53-D8B7-927B4F10DB4D}"/>
          </ac:spMkLst>
        </pc:spChg>
        <pc:spChg chg="mod ord replST">
          <ac:chgData name="Natakala, Dak" userId="cd0822e5-8453-49cd-b7f2-0e1ddb2cf849" providerId="ADAL" clId="{7B62E480-7981-4CB4-8BDC-B43B16217FDC}" dt="2023-08-25T08:50:43.897" v="17131"/>
          <ac:spMkLst>
            <pc:docMk/>
            <pc:sldMk cId="2676839778" sldId="286"/>
            <ac:spMk id="55" creationId="{D547A6B9-1AD5-007E-98D7-C659420AFF95}"/>
          </ac:spMkLst>
        </pc:spChg>
        <pc:spChg chg="replST">
          <ac:chgData name="Natakala, Dak" userId="cd0822e5-8453-49cd-b7f2-0e1ddb2cf849" providerId="ADAL" clId="{7B62E480-7981-4CB4-8BDC-B43B16217FDC}" dt="2023-08-25T08:50:43.868" v="17101"/>
          <ac:spMkLst>
            <pc:docMk/>
            <pc:sldMk cId="2676839778" sldId="286"/>
            <ac:spMk id="56" creationId="{253D2F6D-BDA9-A764-813B-6B55D8BF2F52}"/>
          </ac:spMkLst>
        </pc:spChg>
        <pc:spChg chg="mod ord replST">
          <ac:chgData name="Natakala, Dak" userId="cd0822e5-8453-49cd-b7f2-0e1ddb2cf849" providerId="ADAL" clId="{7B62E480-7981-4CB4-8BDC-B43B16217FDC}" dt="2023-08-25T08:50:43.898" v="17132"/>
          <ac:spMkLst>
            <pc:docMk/>
            <pc:sldMk cId="2676839778" sldId="286"/>
            <ac:spMk id="57" creationId="{C1A6A108-7B87-4D0F-240F-52EE451B5D30}"/>
          </ac:spMkLst>
        </pc:spChg>
        <pc:spChg chg="replST">
          <ac:chgData name="Natakala, Dak" userId="cd0822e5-8453-49cd-b7f2-0e1ddb2cf849" providerId="ADAL" clId="{7B62E480-7981-4CB4-8BDC-B43B16217FDC}" dt="2023-08-25T08:50:43.880" v="17113"/>
          <ac:spMkLst>
            <pc:docMk/>
            <pc:sldMk cId="2676839778" sldId="286"/>
            <ac:spMk id="58" creationId="{61C2B52B-87EF-06B3-F3FF-1903CCF95BDD}"/>
          </ac:spMkLst>
        </pc:spChg>
        <pc:spChg chg="mod ord replST">
          <ac:chgData name="Natakala, Dak" userId="cd0822e5-8453-49cd-b7f2-0e1ddb2cf849" providerId="ADAL" clId="{7B62E480-7981-4CB4-8BDC-B43B16217FDC}" dt="2023-08-25T08:50:43.899" v="17133"/>
          <ac:spMkLst>
            <pc:docMk/>
            <pc:sldMk cId="2676839778" sldId="286"/>
            <ac:spMk id="59" creationId="{7C13FCFC-22AC-CC33-A67C-0462D0C0221C}"/>
          </ac:spMkLst>
        </pc:spChg>
        <pc:spChg chg="replST">
          <ac:chgData name="Natakala, Dak" userId="cd0822e5-8453-49cd-b7f2-0e1ddb2cf849" providerId="ADAL" clId="{7B62E480-7981-4CB4-8BDC-B43B16217FDC}" dt="2023-08-25T08:50:43.892" v="17125"/>
          <ac:spMkLst>
            <pc:docMk/>
            <pc:sldMk cId="2676839778" sldId="286"/>
            <ac:spMk id="60" creationId="{F41215E4-1E7A-9D0D-229D-357CD8F5C09E}"/>
          </ac:spMkLst>
        </pc:spChg>
      </pc:sldChg>
      <pc:sldChg chg="delSp modSp del mod replTag">
        <pc:chgData name="Natakala, Dak" userId="cd0822e5-8453-49cd-b7f2-0e1ddb2cf849" providerId="ADAL" clId="{7B62E480-7981-4CB4-8BDC-B43B16217FDC}" dt="2023-08-24T16:11:59.503" v="16429" actId="2696"/>
        <pc:sldMkLst>
          <pc:docMk/>
          <pc:sldMk cId="686939696" sldId="287"/>
        </pc:sldMkLst>
        <pc:spChg chg="del">
          <ac:chgData name="Natakala, Dak" userId="cd0822e5-8453-49cd-b7f2-0e1ddb2cf849" providerId="ADAL" clId="{7B62E480-7981-4CB4-8BDC-B43B16217FDC}" dt="2023-08-24T11:38:20.377" v="14225" actId="478"/>
          <ac:spMkLst>
            <pc:docMk/>
            <pc:sldMk cId="686939696" sldId="287"/>
            <ac:spMk id="2" creationId="{3D00E417-C2A8-61B9-A6F5-02A42164FE03}"/>
          </ac:spMkLst>
        </pc:spChg>
        <pc:spChg chg="mod ord replST">
          <ac:chgData name="Natakala, Dak" userId="cd0822e5-8453-49cd-b7f2-0e1ddb2cf849" providerId="ADAL" clId="{7B62E480-7981-4CB4-8BDC-B43B16217FDC}" dt="2023-08-24T11:38:20.637" v="14473"/>
          <ac:spMkLst>
            <pc:docMk/>
            <pc:sldMk cId="686939696" sldId="287"/>
            <ac:spMk id="3" creationId="{22EECBE9-2B28-D9E0-37E0-D11FC28E1801}"/>
          </ac:spMkLst>
        </pc:spChg>
        <pc:spChg chg="del">
          <ac:chgData name="Natakala, Dak" userId="cd0822e5-8453-49cd-b7f2-0e1ddb2cf849" providerId="ADAL" clId="{7B62E480-7981-4CB4-8BDC-B43B16217FDC}" dt="2023-08-24T11:38:20.376" v="14224" actId="478"/>
          <ac:spMkLst>
            <pc:docMk/>
            <pc:sldMk cId="686939696" sldId="287"/>
            <ac:spMk id="4" creationId="{E31182E6-E373-5912-2222-4AB0AF21C160}"/>
          </ac:spMkLst>
        </pc:spChg>
        <pc:spChg chg="del">
          <ac:chgData name="Natakala, Dak" userId="cd0822e5-8453-49cd-b7f2-0e1ddb2cf849" providerId="ADAL" clId="{7B62E480-7981-4CB4-8BDC-B43B16217FDC}" dt="2023-08-24T11:38:20.375" v="14223" actId="478"/>
          <ac:spMkLst>
            <pc:docMk/>
            <pc:sldMk cId="686939696" sldId="287"/>
            <ac:spMk id="5" creationId="{12904D18-7C14-9071-7EC3-98F3485424AF}"/>
          </ac:spMkLst>
        </pc:spChg>
        <pc:spChg chg="mod ord replST">
          <ac:chgData name="Natakala, Dak" userId="cd0822e5-8453-49cd-b7f2-0e1ddb2cf849" providerId="ADAL" clId="{7B62E480-7981-4CB4-8BDC-B43B16217FDC}" dt="2023-08-24T11:38:20.637" v="14474"/>
          <ac:spMkLst>
            <pc:docMk/>
            <pc:sldMk cId="686939696" sldId="287"/>
            <ac:spMk id="6" creationId="{3DC8B062-95A4-20E1-76C9-4B60FEE946F8}"/>
          </ac:spMkLst>
        </pc:spChg>
        <pc:spChg chg="replST">
          <ac:chgData name="Natakala, Dak" userId="cd0822e5-8453-49cd-b7f2-0e1ddb2cf849" providerId="ADAL" clId="{7B62E480-7981-4CB4-8BDC-B43B16217FDC}" dt="2023-08-24T11:38:20.579" v="14411"/>
          <ac:spMkLst>
            <pc:docMk/>
            <pc:sldMk cId="686939696" sldId="287"/>
            <ac:spMk id="7" creationId="{3B30990A-07E2-BA3F-7421-9D43EE5ABCF5}"/>
          </ac:spMkLst>
        </pc:spChg>
        <pc:spChg chg="mod ord replST">
          <ac:chgData name="Natakala, Dak" userId="cd0822e5-8453-49cd-b7f2-0e1ddb2cf849" providerId="ADAL" clId="{7B62E480-7981-4CB4-8BDC-B43B16217FDC}" dt="2023-08-24T11:38:20.638" v="14475"/>
          <ac:spMkLst>
            <pc:docMk/>
            <pc:sldMk cId="686939696" sldId="287"/>
            <ac:spMk id="8" creationId="{CD2700D1-77EE-43C0-F0CD-20B4AD6E8ABF}"/>
          </ac:spMkLst>
        </pc:spChg>
        <pc:spChg chg="replST">
          <ac:chgData name="Natakala, Dak" userId="cd0822e5-8453-49cd-b7f2-0e1ddb2cf849" providerId="ADAL" clId="{7B62E480-7981-4CB4-8BDC-B43B16217FDC}" dt="2023-08-24T11:38:20.590" v="14423"/>
          <ac:spMkLst>
            <pc:docMk/>
            <pc:sldMk cId="686939696" sldId="287"/>
            <ac:spMk id="9" creationId="{6F2A3B41-0AE2-4C43-E13E-E2EEC33DCA8E}"/>
          </ac:spMkLst>
        </pc:spChg>
        <pc:spChg chg="mod ord replST">
          <ac:chgData name="Natakala, Dak" userId="cd0822e5-8453-49cd-b7f2-0e1ddb2cf849" providerId="ADAL" clId="{7B62E480-7981-4CB4-8BDC-B43B16217FDC}" dt="2023-08-24T11:38:20.639" v="14476"/>
          <ac:spMkLst>
            <pc:docMk/>
            <pc:sldMk cId="686939696" sldId="287"/>
            <ac:spMk id="10" creationId="{D7CD9D27-E0EB-D13F-5122-788B6EE58341}"/>
          </ac:spMkLst>
        </pc:spChg>
        <pc:spChg chg="replST">
          <ac:chgData name="Natakala, Dak" userId="cd0822e5-8453-49cd-b7f2-0e1ddb2cf849" providerId="ADAL" clId="{7B62E480-7981-4CB4-8BDC-B43B16217FDC}" dt="2023-08-24T11:38:20.602" v="14435"/>
          <ac:spMkLst>
            <pc:docMk/>
            <pc:sldMk cId="686939696" sldId="287"/>
            <ac:spMk id="11" creationId="{BC850AC8-C7E5-7CDB-6641-32E2810D11EF}"/>
          </ac:spMkLst>
        </pc:spChg>
        <pc:spChg chg="mod ord replST">
          <ac:chgData name="Natakala, Dak" userId="cd0822e5-8453-49cd-b7f2-0e1ddb2cf849" providerId="ADAL" clId="{7B62E480-7981-4CB4-8BDC-B43B16217FDC}" dt="2023-08-24T11:38:20.639" v="14477"/>
          <ac:spMkLst>
            <pc:docMk/>
            <pc:sldMk cId="686939696" sldId="287"/>
            <ac:spMk id="12" creationId="{FC04BC80-A465-F33F-8509-025206D3C79A}"/>
          </ac:spMkLst>
        </pc:spChg>
        <pc:spChg chg="replST">
          <ac:chgData name="Natakala, Dak" userId="cd0822e5-8453-49cd-b7f2-0e1ddb2cf849" providerId="ADAL" clId="{7B62E480-7981-4CB4-8BDC-B43B16217FDC}" dt="2023-08-24T11:38:20.613" v="14447"/>
          <ac:spMkLst>
            <pc:docMk/>
            <pc:sldMk cId="686939696" sldId="287"/>
            <ac:spMk id="13" creationId="{02C1F4AC-E6F7-CC26-BEB1-79E18934CBC4}"/>
          </ac:spMkLst>
        </pc:spChg>
        <pc:spChg chg="ord replST">
          <ac:chgData name="Natakala, Dak" userId="cd0822e5-8453-49cd-b7f2-0e1ddb2cf849" providerId="ADAL" clId="{7B62E480-7981-4CB4-8BDC-B43B16217FDC}" dt="2023-08-24T11:38:20.640" v="14478"/>
          <ac:spMkLst>
            <pc:docMk/>
            <pc:sldMk cId="686939696" sldId="287"/>
            <ac:spMk id="14" creationId="{DF6DD9E4-B40E-DDD7-11B5-C08FE1A3D19E}"/>
          </ac:spMkLst>
        </pc:spChg>
        <pc:spChg chg="mod ord replST">
          <ac:chgData name="Natakala, Dak" userId="cd0822e5-8453-49cd-b7f2-0e1ddb2cf849" providerId="ADAL" clId="{7B62E480-7981-4CB4-8BDC-B43B16217FDC}" dt="2023-08-24T11:38:20.641" v="14479"/>
          <ac:spMkLst>
            <pc:docMk/>
            <pc:sldMk cId="686939696" sldId="287"/>
            <ac:spMk id="15" creationId="{EC73A9D8-BE32-B705-B0EB-572A854A47A8}"/>
          </ac:spMkLst>
        </pc:spChg>
        <pc:spChg chg="replST">
          <ac:chgData name="Natakala, Dak" userId="cd0822e5-8453-49cd-b7f2-0e1ddb2cf849" providerId="ADAL" clId="{7B62E480-7981-4CB4-8BDC-B43B16217FDC}" dt="2023-08-24T11:38:20.624" v="14460"/>
          <ac:spMkLst>
            <pc:docMk/>
            <pc:sldMk cId="686939696" sldId="287"/>
            <ac:spMk id="16" creationId="{58491342-40AF-3048-2588-7C7641622EA0}"/>
          </ac:spMkLst>
        </pc:spChg>
        <pc:spChg chg="mod ord replST">
          <ac:chgData name="Natakala, Dak" userId="cd0822e5-8453-49cd-b7f2-0e1ddb2cf849" providerId="ADAL" clId="{7B62E480-7981-4CB4-8BDC-B43B16217FDC}" dt="2023-08-24T11:38:20.642" v="14480"/>
          <ac:spMkLst>
            <pc:docMk/>
            <pc:sldMk cId="686939696" sldId="287"/>
            <ac:spMk id="17" creationId="{9CAA6009-21D8-BEBA-48E2-9068FA04606A}"/>
          </ac:spMkLst>
        </pc:spChg>
        <pc:spChg chg="replST">
          <ac:chgData name="Natakala, Dak" userId="cd0822e5-8453-49cd-b7f2-0e1ddb2cf849" providerId="ADAL" clId="{7B62E480-7981-4CB4-8BDC-B43B16217FDC}" dt="2023-08-24T11:38:20.635" v="14472"/>
          <ac:spMkLst>
            <pc:docMk/>
            <pc:sldMk cId="686939696" sldId="287"/>
            <ac:spMk id="18" creationId="{2584FE03-7C55-7280-3B01-0C15E619D7BA}"/>
          </ac:spMkLst>
        </pc:spChg>
      </pc:sldChg>
      <pc:sldChg chg="delSp modSp del mod">
        <pc:chgData name="Natakala, Dak" userId="cd0822e5-8453-49cd-b7f2-0e1ddb2cf849" providerId="ADAL" clId="{7B62E480-7981-4CB4-8BDC-B43B16217FDC}" dt="2023-08-24T16:12:00.431" v="16764" actId="2696"/>
        <pc:sldMkLst>
          <pc:docMk/>
          <pc:sldMk cId="1473708306" sldId="287"/>
        </pc:sldMkLst>
        <pc:spChg chg="del">
          <ac:chgData name="Natakala, Dak" userId="cd0822e5-8453-49cd-b7f2-0e1ddb2cf849" providerId="ADAL" clId="{7B62E480-7981-4CB4-8BDC-B43B16217FDC}" dt="2023-08-24T16:12:00.429" v="16762" actId="478"/>
          <ac:spMkLst>
            <pc:docMk/>
            <pc:sldMk cId="1473708306" sldId="287"/>
            <ac:spMk id="6" creationId="{B3611967-2563-6C82-C410-683A6C2A61B1}"/>
          </ac:spMkLst>
        </pc:spChg>
        <pc:spChg chg="mod">
          <ac:chgData name="Natakala, Dak" userId="cd0822e5-8453-49cd-b7f2-0e1ddb2cf849" providerId="ADAL" clId="{7B62E480-7981-4CB4-8BDC-B43B16217FDC}" dt="2023-08-24T16:11:59.570" v="16433" actId="207"/>
          <ac:spMkLst>
            <pc:docMk/>
            <pc:sldMk cId="1473708306" sldId="287"/>
            <ac:spMk id="8" creationId="{8176B7F2-A5B8-8D11-B2D7-0E02E26ED3C1}"/>
          </ac:spMkLst>
        </pc:spChg>
        <pc:spChg chg="mod modVis">
          <ac:chgData name="Natakala, Dak" userId="cd0822e5-8453-49cd-b7f2-0e1ddb2cf849" providerId="ADAL" clId="{7B62E480-7981-4CB4-8BDC-B43B16217FDC}" dt="2023-08-24T16:11:59.648" v="16434" actId="962"/>
          <ac:spMkLst>
            <pc:docMk/>
            <pc:sldMk cId="1473708306" sldId="287"/>
            <ac:spMk id="10" creationId="{4A1672B1-727B-B867-11E5-052CD75B102F}"/>
          </ac:spMkLst>
        </pc:spChg>
        <pc:spChg chg="mod modVis">
          <ac:chgData name="Natakala, Dak" userId="cd0822e5-8453-49cd-b7f2-0e1ddb2cf849" providerId="ADAL" clId="{7B62E480-7981-4CB4-8BDC-B43B16217FDC}" dt="2023-08-24T16:11:59.656" v="16435" actId="962"/>
          <ac:spMkLst>
            <pc:docMk/>
            <pc:sldMk cId="1473708306" sldId="287"/>
            <ac:spMk id="11" creationId="{C90A35BE-827E-BFC9-4B8E-26DEDDFEE705}"/>
          </ac:spMkLst>
        </pc:spChg>
        <pc:spChg chg="mod modVis">
          <ac:chgData name="Natakala, Dak" userId="cd0822e5-8453-49cd-b7f2-0e1ddb2cf849" providerId="ADAL" clId="{7B62E480-7981-4CB4-8BDC-B43B16217FDC}" dt="2023-08-24T16:11:59.665" v="16436" actId="962"/>
          <ac:spMkLst>
            <pc:docMk/>
            <pc:sldMk cId="1473708306" sldId="287"/>
            <ac:spMk id="12" creationId="{A61A5768-F702-C782-BA43-CBDEB5D4273F}"/>
          </ac:spMkLst>
        </pc:spChg>
        <pc:spChg chg="mod modVis">
          <ac:chgData name="Natakala, Dak" userId="cd0822e5-8453-49cd-b7f2-0e1ddb2cf849" providerId="ADAL" clId="{7B62E480-7981-4CB4-8BDC-B43B16217FDC}" dt="2023-08-24T16:11:59.671" v="16437" actId="962"/>
          <ac:spMkLst>
            <pc:docMk/>
            <pc:sldMk cId="1473708306" sldId="287"/>
            <ac:spMk id="13" creationId="{2049FC1B-6332-E8ED-BF3C-2789711576EC}"/>
          </ac:spMkLst>
        </pc:spChg>
        <pc:spChg chg="mod modVis">
          <ac:chgData name="Natakala, Dak" userId="cd0822e5-8453-49cd-b7f2-0e1ddb2cf849" providerId="ADAL" clId="{7B62E480-7981-4CB4-8BDC-B43B16217FDC}" dt="2023-08-24T16:11:59.677" v="16438" actId="962"/>
          <ac:spMkLst>
            <pc:docMk/>
            <pc:sldMk cId="1473708306" sldId="287"/>
            <ac:spMk id="14" creationId="{3BD252A4-DF60-B22B-84A8-8010DB53D7B4}"/>
          </ac:spMkLst>
        </pc:spChg>
        <pc:spChg chg="mod modVis">
          <ac:chgData name="Natakala, Dak" userId="cd0822e5-8453-49cd-b7f2-0e1ddb2cf849" providerId="ADAL" clId="{7B62E480-7981-4CB4-8BDC-B43B16217FDC}" dt="2023-08-24T16:11:59.682" v="16439" actId="962"/>
          <ac:spMkLst>
            <pc:docMk/>
            <pc:sldMk cId="1473708306" sldId="287"/>
            <ac:spMk id="15" creationId="{86FC9AC5-A854-8A90-2169-E9A5D30612DE}"/>
          </ac:spMkLst>
        </pc:spChg>
        <pc:spChg chg="mod modVis">
          <ac:chgData name="Natakala, Dak" userId="cd0822e5-8453-49cd-b7f2-0e1ddb2cf849" providerId="ADAL" clId="{7B62E480-7981-4CB4-8BDC-B43B16217FDC}" dt="2023-08-24T16:11:59.698" v="16440" actId="962"/>
          <ac:spMkLst>
            <pc:docMk/>
            <pc:sldMk cId="1473708306" sldId="287"/>
            <ac:spMk id="16" creationId="{1D73FA44-91B3-B98A-2A97-15ADC3C24CDF}"/>
          </ac:spMkLst>
        </pc:spChg>
        <pc:spChg chg="mod modVis">
          <ac:chgData name="Natakala, Dak" userId="cd0822e5-8453-49cd-b7f2-0e1ddb2cf849" providerId="ADAL" clId="{7B62E480-7981-4CB4-8BDC-B43B16217FDC}" dt="2023-08-24T16:11:59.703" v="16441" actId="962"/>
          <ac:spMkLst>
            <pc:docMk/>
            <pc:sldMk cId="1473708306" sldId="287"/>
            <ac:spMk id="17" creationId="{8D59CAB9-4567-4AE9-DF68-496A302B454F}"/>
          </ac:spMkLst>
        </pc:spChg>
        <pc:spChg chg="mod modVis">
          <ac:chgData name="Natakala, Dak" userId="cd0822e5-8453-49cd-b7f2-0e1ddb2cf849" providerId="ADAL" clId="{7B62E480-7981-4CB4-8BDC-B43B16217FDC}" dt="2023-08-24T16:11:59.708" v="16442" actId="962"/>
          <ac:spMkLst>
            <pc:docMk/>
            <pc:sldMk cId="1473708306" sldId="287"/>
            <ac:spMk id="18" creationId="{0DFFCC19-8E02-A2F1-4F0B-1DF8102D8CDE}"/>
          </ac:spMkLst>
        </pc:spChg>
        <pc:spChg chg="mod modVis">
          <ac:chgData name="Natakala, Dak" userId="cd0822e5-8453-49cd-b7f2-0e1ddb2cf849" providerId="ADAL" clId="{7B62E480-7981-4CB4-8BDC-B43B16217FDC}" dt="2023-08-24T16:11:59.714" v="16443" actId="962"/>
          <ac:spMkLst>
            <pc:docMk/>
            <pc:sldMk cId="1473708306" sldId="287"/>
            <ac:spMk id="19" creationId="{7CE3C5BE-0858-B03E-2A9E-2CB55D624B04}"/>
          </ac:spMkLst>
        </pc:spChg>
        <pc:spChg chg="mod modVis">
          <ac:chgData name="Natakala, Dak" userId="cd0822e5-8453-49cd-b7f2-0e1ddb2cf849" providerId="ADAL" clId="{7B62E480-7981-4CB4-8BDC-B43B16217FDC}" dt="2023-08-24T16:11:59.751" v="16444" actId="962"/>
          <ac:spMkLst>
            <pc:docMk/>
            <pc:sldMk cId="1473708306" sldId="287"/>
            <ac:spMk id="20" creationId="{800E9D25-DF51-10D8-CF0C-CCDB6D92F473}"/>
          </ac:spMkLst>
        </pc:spChg>
        <pc:spChg chg="mod modVis">
          <ac:chgData name="Natakala, Dak" userId="cd0822e5-8453-49cd-b7f2-0e1ddb2cf849" providerId="ADAL" clId="{7B62E480-7981-4CB4-8BDC-B43B16217FDC}" dt="2023-08-24T16:11:59.759" v="16445" actId="962"/>
          <ac:spMkLst>
            <pc:docMk/>
            <pc:sldMk cId="1473708306" sldId="287"/>
            <ac:spMk id="21" creationId="{BDB8A034-2A78-5B99-D947-559CB50B6AFB}"/>
          </ac:spMkLst>
        </pc:spChg>
        <pc:spChg chg="mod modVis">
          <ac:chgData name="Natakala, Dak" userId="cd0822e5-8453-49cd-b7f2-0e1ddb2cf849" providerId="ADAL" clId="{7B62E480-7981-4CB4-8BDC-B43B16217FDC}" dt="2023-08-24T16:11:59.765" v="16446" actId="962"/>
          <ac:spMkLst>
            <pc:docMk/>
            <pc:sldMk cId="1473708306" sldId="287"/>
            <ac:spMk id="22" creationId="{99366E9A-7A5E-3A92-7939-9C0F7A5C18B3}"/>
          </ac:spMkLst>
        </pc:spChg>
        <pc:spChg chg="mod modVis">
          <ac:chgData name="Natakala, Dak" userId="cd0822e5-8453-49cd-b7f2-0e1ddb2cf849" providerId="ADAL" clId="{7B62E480-7981-4CB4-8BDC-B43B16217FDC}" dt="2023-08-24T16:11:59.770" v="16447" actId="962"/>
          <ac:spMkLst>
            <pc:docMk/>
            <pc:sldMk cId="1473708306" sldId="287"/>
            <ac:spMk id="23" creationId="{9A363E7C-AD51-9A03-4D93-1DD7880D05D8}"/>
          </ac:spMkLst>
        </pc:spChg>
        <pc:spChg chg="mod modVis">
          <ac:chgData name="Natakala, Dak" userId="cd0822e5-8453-49cd-b7f2-0e1ddb2cf849" providerId="ADAL" clId="{7B62E480-7981-4CB4-8BDC-B43B16217FDC}" dt="2023-08-24T16:11:59.774" v="16448" actId="962"/>
          <ac:spMkLst>
            <pc:docMk/>
            <pc:sldMk cId="1473708306" sldId="287"/>
            <ac:spMk id="24" creationId="{439A5865-58C7-E03A-6353-661F0283CFAA}"/>
          </ac:spMkLst>
        </pc:spChg>
        <pc:spChg chg="mod modVis">
          <ac:chgData name="Natakala, Dak" userId="cd0822e5-8453-49cd-b7f2-0e1ddb2cf849" providerId="ADAL" clId="{7B62E480-7981-4CB4-8BDC-B43B16217FDC}" dt="2023-08-24T16:11:59.779" v="16449" actId="962"/>
          <ac:spMkLst>
            <pc:docMk/>
            <pc:sldMk cId="1473708306" sldId="287"/>
            <ac:spMk id="25" creationId="{311D2851-B2EF-64C3-BF2C-B231AECFCC31}"/>
          </ac:spMkLst>
        </pc:spChg>
        <pc:spChg chg="mod modVis">
          <ac:chgData name="Natakala, Dak" userId="cd0822e5-8453-49cd-b7f2-0e1ddb2cf849" providerId="ADAL" clId="{7B62E480-7981-4CB4-8BDC-B43B16217FDC}" dt="2023-08-24T16:11:59.784" v="16450" actId="962"/>
          <ac:spMkLst>
            <pc:docMk/>
            <pc:sldMk cId="1473708306" sldId="287"/>
            <ac:spMk id="26" creationId="{9406C03D-3453-3CDA-D522-DC72DB12F664}"/>
          </ac:spMkLst>
        </pc:spChg>
        <pc:spChg chg="mod modVis">
          <ac:chgData name="Natakala, Dak" userId="cd0822e5-8453-49cd-b7f2-0e1ddb2cf849" providerId="ADAL" clId="{7B62E480-7981-4CB4-8BDC-B43B16217FDC}" dt="2023-08-24T16:11:59.791" v="16451" actId="962"/>
          <ac:spMkLst>
            <pc:docMk/>
            <pc:sldMk cId="1473708306" sldId="287"/>
            <ac:spMk id="27" creationId="{BF68AEB7-D3FC-467B-931F-4D874A9B1B5A}"/>
          </ac:spMkLst>
        </pc:spChg>
        <pc:spChg chg="mod modVis">
          <ac:chgData name="Natakala, Dak" userId="cd0822e5-8453-49cd-b7f2-0e1ddb2cf849" providerId="ADAL" clId="{7B62E480-7981-4CB4-8BDC-B43B16217FDC}" dt="2023-08-24T16:11:59.798" v="16452" actId="962"/>
          <ac:spMkLst>
            <pc:docMk/>
            <pc:sldMk cId="1473708306" sldId="287"/>
            <ac:spMk id="28" creationId="{B565AD98-5E81-92EB-ADDB-1B340E9E83E5}"/>
          </ac:spMkLst>
        </pc:spChg>
        <pc:spChg chg="mod modVis">
          <ac:chgData name="Natakala, Dak" userId="cd0822e5-8453-49cd-b7f2-0e1ddb2cf849" providerId="ADAL" clId="{7B62E480-7981-4CB4-8BDC-B43B16217FDC}" dt="2023-08-24T16:11:59.804" v="16453" actId="962"/>
          <ac:spMkLst>
            <pc:docMk/>
            <pc:sldMk cId="1473708306" sldId="287"/>
            <ac:spMk id="29" creationId="{EC633D74-B7B6-957F-ACF8-CD9BE31EFD15}"/>
          </ac:spMkLst>
        </pc:spChg>
        <pc:spChg chg="mod modVis">
          <ac:chgData name="Natakala, Dak" userId="cd0822e5-8453-49cd-b7f2-0e1ddb2cf849" providerId="ADAL" clId="{7B62E480-7981-4CB4-8BDC-B43B16217FDC}" dt="2023-08-24T16:11:59.813" v="16454" actId="962"/>
          <ac:spMkLst>
            <pc:docMk/>
            <pc:sldMk cId="1473708306" sldId="287"/>
            <ac:spMk id="30" creationId="{DD37A80C-5DBC-2EF1-019E-8CE6A5A01ADF}"/>
          </ac:spMkLst>
        </pc:spChg>
        <pc:spChg chg="mod modVis">
          <ac:chgData name="Natakala, Dak" userId="cd0822e5-8453-49cd-b7f2-0e1ddb2cf849" providerId="ADAL" clId="{7B62E480-7981-4CB4-8BDC-B43B16217FDC}" dt="2023-08-24T16:11:59.818" v="16455" actId="962"/>
          <ac:spMkLst>
            <pc:docMk/>
            <pc:sldMk cId="1473708306" sldId="287"/>
            <ac:spMk id="31" creationId="{1DF1C5FC-F406-B97B-4C3F-E024D8FEA192}"/>
          </ac:spMkLst>
        </pc:spChg>
        <pc:spChg chg="mod modVis">
          <ac:chgData name="Natakala, Dak" userId="cd0822e5-8453-49cd-b7f2-0e1ddb2cf849" providerId="ADAL" clId="{7B62E480-7981-4CB4-8BDC-B43B16217FDC}" dt="2023-08-24T16:11:59.822" v="16456" actId="962"/>
          <ac:spMkLst>
            <pc:docMk/>
            <pc:sldMk cId="1473708306" sldId="287"/>
            <ac:spMk id="32" creationId="{E4D6536A-439C-813F-5ED5-8548107D2547}"/>
          </ac:spMkLst>
        </pc:spChg>
        <pc:spChg chg="mod modVis">
          <ac:chgData name="Natakala, Dak" userId="cd0822e5-8453-49cd-b7f2-0e1ddb2cf849" providerId="ADAL" clId="{7B62E480-7981-4CB4-8BDC-B43B16217FDC}" dt="2023-08-24T16:11:59.828" v="16457" actId="962"/>
          <ac:spMkLst>
            <pc:docMk/>
            <pc:sldMk cId="1473708306" sldId="287"/>
            <ac:spMk id="33" creationId="{31E38AA7-5E11-93FE-EE70-CB6086EA4F33}"/>
          </ac:spMkLst>
        </pc:spChg>
        <pc:spChg chg="mod modVis">
          <ac:chgData name="Natakala, Dak" userId="cd0822e5-8453-49cd-b7f2-0e1ddb2cf849" providerId="ADAL" clId="{7B62E480-7981-4CB4-8BDC-B43B16217FDC}" dt="2023-08-24T16:11:59.833" v="16458" actId="962"/>
          <ac:spMkLst>
            <pc:docMk/>
            <pc:sldMk cId="1473708306" sldId="287"/>
            <ac:spMk id="34" creationId="{29BA2A7A-A623-0758-1584-8CA2A3E24481}"/>
          </ac:spMkLst>
        </pc:spChg>
        <pc:spChg chg="mod modVis">
          <ac:chgData name="Natakala, Dak" userId="cd0822e5-8453-49cd-b7f2-0e1ddb2cf849" providerId="ADAL" clId="{7B62E480-7981-4CB4-8BDC-B43B16217FDC}" dt="2023-08-24T16:11:59.839" v="16459" actId="962"/>
          <ac:spMkLst>
            <pc:docMk/>
            <pc:sldMk cId="1473708306" sldId="287"/>
            <ac:spMk id="35" creationId="{5A907E45-7109-9F50-70D5-21E9E92F8EC1}"/>
          </ac:spMkLst>
        </pc:spChg>
        <pc:spChg chg="mod modVis">
          <ac:chgData name="Natakala, Dak" userId="cd0822e5-8453-49cd-b7f2-0e1ddb2cf849" providerId="ADAL" clId="{7B62E480-7981-4CB4-8BDC-B43B16217FDC}" dt="2023-08-24T16:11:59.846" v="16460" actId="962"/>
          <ac:spMkLst>
            <pc:docMk/>
            <pc:sldMk cId="1473708306" sldId="287"/>
            <ac:spMk id="36" creationId="{40CF175C-61FA-0AEF-4719-6B082BE2416E}"/>
          </ac:spMkLst>
        </pc:spChg>
        <pc:spChg chg="mod modVis">
          <ac:chgData name="Natakala, Dak" userId="cd0822e5-8453-49cd-b7f2-0e1ddb2cf849" providerId="ADAL" clId="{7B62E480-7981-4CB4-8BDC-B43B16217FDC}" dt="2023-08-24T16:11:59.853" v="16461" actId="962"/>
          <ac:spMkLst>
            <pc:docMk/>
            <pc:sldMk cId="1473708306" sldId="287"/>
            <ac:spMk id="37" creationId="{AA6CD7D9-2EDC-86E7-F20E-E11B56C956C2}"/>
          </ac:spMkLst>
        </pc:spChg>
        <pc:spChg chg="mod modVis">
          <ac:chgData name="Natakala, Dak" userId="cd0822e5-8453-49cd-b7f2-0e1ddb2cf849" providerId="ADAL" clId="{7B62E480-7981-4CB4-8BDC-B43B16217FDC}" dt="2023-08-24T16:11:59.860" v="16462" actId="962"/>
          <ac:spMkLst>
            <pc:docMk/>
            <pc:sldMk cId="1473708306" sldId="287"/>
            <ac:spMk id="38" creationId="{3E349A29-C24A-C80C-A545-DBA9C3B45FA0}"/>
          </ac:spMkLst>
        </pc:spChg>
        <pc:spChg chg="mod modVis">
          <ac:chgData name="Natakala, Dak" userId="cd0822e5-8453-49cd-b7f2-0e1ddb2cf849" providerId="ADAL" clId="{7B62E480-7981-4CB4-8BDC-B43B16217FDC}" dt="2023-08-24T16:11:59.865" v="16463" actId="962"/>
          <ac:spMkLst>
            <pc:docMk/>
            <pc:sldMk cId="1473708306" sldId="287"/>
            <ac:spMk id="39" creationId="{953A9243-4744-C1C1-8321-648A367661D2}"/>
          </ac:spMkLst>
        </pc:spChg>
        <pc:spChg chg="mod modVis">
          <ac:chgData name="Natakala, Dak" userId="cd0822e5-8453-49cd-b7f2-0e1ddb2cf849" providerId="ADAL" clId="{7B62E480-7981-4CB4-8BDC-B43B16217FDC}" dt="2023-08-24T16:11:59.870" v="16464" actId="962"/>
          <ac:spMkLst>
            <pc:docMk/>
            <pc:sldMk cId="1473708306" sldId="287"/>
            <ac:spMk id="40" creationId="{08A14C10-22D1-BAFE-A4DC-2796C89F84B5}"/>
          </ac:spMkLst>
        </pc:spChg>
        <pc:spChg chg="mod modVis">
          <ac:chgData name="Natakala, Dak" userId="cd0822e5-8453-49cd-b7f2-0e1ddb2cf849" providerId="ADAL" clId="{7B62E480-7981-4CB4-8BDC-B43B16217FDC}" dt="2023-08-24T16:11:59.876" v="16465" actId="962"/>
          <ac:spMkLst>
            <pc:docMk/>
            <pc:sldMk cId="1473708306" sldId="287"/>
            <ac:spMk id="41" creationId="{4F862F39-0C40-06FF-1F1B-B5A184353DB7}"/>
          </ac:spMkLst>
        </pc:spChg>
        <pc:spChg chg="mod modVis">
          <ac:chgData name="Natakala, Dak" userId="cd0822e5-8453-49cd-b7f2-0e1ddb2cf849" providerId="ADAL" clId="{7B62E480-7981-4CB4-8BDC-B43B16217FDC}" dt="2023-08-24T16:11:59.881" v="16466" actId="962"/>
          <ac:spMkLst>
            <pc:docMk/>
            <pc:sldMk cId="1473708306" sldId="287"/>
            <ac:spMk id="42" creationId="{E9344E9E-B8D1-F0CC-3D18-B6382D4CAE4F}"/>
          </ac:spMkLst>
        </pc:spChg>
        <pc:spChg chg="mod modVis">
          <ac:chgData name="Natakala, Dak" userId="cd0822e5-8453-49cd-b7f2-0e1ddb2cf849" providerId="ADAL" clId="{7B62E480-7981-4CB4-8BDC-B43B16217FDC}" dt="2023-08-24T16:11:59.887" v="16467" actId="962"/>
          <ac:spMkLst>
            <pc:docMk/>
            <pc:sldMk cId="1473708306" sldId="287"/>
            <ac:spMk id="43" creationId="{BC6ACF77-4435-4725-0F5B-13306F83D23A}"/>
          </ac:spMkLst>
        </pc:spChg>
        <pc:spChg chg="mod modVis">
          <ac:chgData name="Natakala, Dak" userId="cd0822e5-8453-49cd-b7f2-0e1ddb2cf849" providerId="ADAL" clId="{7B62E480-7981-4CB4-8BDC-B43B16217FDC}" dt="2023-08-24T16:11:59.894" v="16468" actId="962"/>
          <ac:spMkLst>
            <pc:docMk/>
            <pc:sldMk cId="1473708306" sldId="287"/>
            <ac:spMk id="44" creationId="{12E62D18-7DAF-D30F-ACF8-73FCD917FC2B}"/>
          </ac:spMkLst>
        </pc:spChg>
        <pc:spChg chg="mod modVis">
          <ac:chgData name="Natakala, Dak" userId="cd0822e5-8453-49cd-b7f2-0e1ddb2cf849" providerId="ADAL" clId="{7B62E480-7981-4CB4-8BDC-B43B16217FDC}" dt="2023-08-24T16:11:59.901" v="16469" actId="962"/>
          <ac:spMkLst>
            <pc:docMk/>
            <pc:sldMk cId="1473708306" sldId="287"/>
            <ac:spMk id="45" creationId="{8ACE2967-9931-2EDC-5F52-4FD920853648}"/>
          </ac:spMkLst>
        </pc:spChg>
        <pc:spChg chg="mod modVis">
          <ac:chgData name="Natakala, Dak" userId="cd0822e5-8453-49cd-b7f2-0e1ddb2cf849" providerId="ADAL" clId="{7B62E480-7981-4CB4-8BDC-B43B16217FDC}" dt="2023-08-24T16:11:59.909" v="16470" actId="962"/>
          <ac:spMkLst>
            <pc:docMk/>
            <pc:sldMk cId="1473708306" sldId="287"/>
            <ac:spMk id="46" creationId="{16D64863-2B2B-6F0A-0565-FCBAE170D7B6}"/>
          </ac:spMkLst>
        </pc:spChg>
        <pc:spChg chg="mod modVis">
          <ac:chgData name="Natakala, Dak" userId="cd0822e5-8453-49cd-b7f2-0e1ddb2cf849" providerId="ADAL" clId="{7B62E480-7981-4CB4-8BDC-B43B16217FDC}" dt="2023-08-24T16:11:59.914" v="16471" actId="962"/>
          <ac:spMkLst>
            <pc:docMk/>
            <pc:sldMk cId="1473708306" sldId="287"/>
            <ac:spMk id="47" creationId="{9488AE18-1196-7948-861F-A4936C18D2BF}"/>
          </ac:spMkLst>
        </pc:spChg>
        <pc:spChg chg="mod modVis">
          <ac:chgData name="Natakala, Dak" userId="cd0822e5-8453-49cd-b7f2-0e1ddb2cf849" providerId="ADAL" clId="{7B62E480-7981-4CB4-8BDC-B43B16217FDC}" dt="2023-08-24T16:11:59.919" v="16472" actId="962"/>
          <ac:spMkLst>
            <pc:docMk/>
            <pc:sldMk cId="1473708306" sldId="287"/>
            <ac:spMk id="48" creationId="{670BA71D-DB32-0C9B-5F4A-DBA00DE3B5EE}"/>
          </ac:spMkLst>
        </pc:spChg>
        <pc:spChg chg="mod modVis">
          <ac:chgData name="Natakala, Dak" userId="cd0822e5-8453-49cd-b7f2-0e1ddb2cf849" providerId="ADAL" clId="{7B62E480-7981-4CB4-8BDC-B43B16217FDC}" dt="2023-08-24T16:11:59.925" v="16473" actId="962"/>
          <ac:spMkLst>
            <pc:docMk/>
            <pc:sldMk cId="1473708306" sldId="287"/>
            <ac:spMk id="49" creationId="{63E2559C-C865-5BC8-7948-5CAF2D0EB0CF}"/>
          </ac:spMkLst>
        </pc:spChg>
        <pc:spChg chg="mod modVis">
          <ac:chgData name="Natakala, Dak" userId="cd0822e5-8453-49cd-b7f2-0e1ddb2cf849" providerId="ADAL" clId="{7B62E480-7981-4CB4-8BDC-B43B16217FDC}" dt="2023-08-24T16:11:59.930" v="16474" actId="962"/>
          <ac:spMkLst>
            <pc:docMk/>
            <pc:sldMk cId="1473708306" sldId="287"/>
            <ac:spMk id="50" creationId="{495ED814-1BA7-0211-CA20-D1356EC4698E}"/>
          </ac:spMkLst>
        </pc:spChg>
        <pc:spChg chg="mod modVis">
          <ac:chgData name="Natakala, Dak" userId="cd0822e5-8453-49cd-b7f2-0e1ddb2cf849" providerId="ADAL" clId="{7B62E480-7981-4CB4-8BDC-B43B16217FDC}" dt="2023-08-24T16:11:59.937" v="16475" actId="962"/>
          <ac:spMkLst>
            <pc:docMk/>
            <pc:sldMk cId="1473708306" sldId="287"/>
            <ac:spMk id="51" creationId="{546F0CE8-5B20-E753-16B1-F0C1154E3EF5}"/>
          </ac:spMkLst>
        </pc:spChg>
        <pc:spChg chg="mod modVis">
          <ac:chgData name="Natakala, Dak" userId="cd0822e5-8453-49cd-b7f2-0e1ddb2cf849" providerId="ADAL" clId="{7B62E480-7981-4CB4-8BDC-B43B16217FDC}" dt="2023-08-24T16:11:59.943" v="16476" actId="962"/>
          <ac:spMkLst>
            <pc:docMk/>
            <pc:sldMk cId="1473708306" sldId="287"/>
            <ac:spMk id="52" creationId="{C2E36420-31D4-7756-D506-1A22CAC1B061}"/>
          </ac:spMkLst>
        </pc:spChg>
        <pc:spChg chg="mod modVis">
          <ac:chgData name="Natakala, Dak" userId="cd0822e5-8453-49cd-b7f2-0e1ddb2cf849" providerId="ADAL" clId="{7B62E480-7981-4CB4-8BDC-B43B16217FDC}" dt="2023-08-24T16:11:59.949" v="16477" actId="962"/>
          <ac:spMkLst>
            <pc:docMk/>
            <pc:sldMk cId="1473708306" sldId="287"/>
            <ac:spMk id="53" creationId="{565A73DD-FA7F-2CE9-13A0-C615B0B2815E}"/>
          </ac:spMkLst>
        </pc:spChg>
        <pc:spChg chg="mod modVis">
          <ac:chgData name="Natakala, Dak" userId="cd0822e5-8453-49cd-b7f2-0e1ddb2cf849" providerId="ADAL" clId="{7B62E480-7981-4CB4-8BDC-B43B16217FDC}" dt="2023-08-24T16:11:59.956" v="16478" actId="962"/>
          <ac:spMkLst>
            <pc:docMk/>
            <pc:sldMk cId="1473708306" sldId="287"/>
            <ac:spMk id="54" creationId="{F94CDEFE-8F92-E4E9-933F-9EFB4CC1BE48}"/>
          </ac:spMkLst>
        </pc:spChg>
        <pc:spChg chg="mod modVis">
          <ac:chgData name="Natakala, Dak" userId="cd0822e5-8453-49cd-b7f2-0e1ddb2cf849" providerId="ADAL" clId="{7B62E480-7981-4CB4-8BDC-B43B16217FDC}" dt="2023-08-24T16:11:59.961" v="16479" actId="962"/>
          <ac:spMkLst>
            <pc:docMk/>
            <pc:sldMk cId="1473708306" sldId="287"/>
            <ac:spMk id="55" creationId="{80E18202-B497-A459-351B-72369175F33B}"/>
          </ac:spMkLst>
        </pc:spChg>
        <pc:spChg chg="mod modVis">
          <ac:chgData name="Natakala, Dak" userId="cd0822e5-8453-49cd-b7f2-0e1ddb2cf849" providerId="ADAL" clId="{7B62E480-7981-4CB4-8BDC-B43B16217FDC}" dt="2023-08-24T16:11:59.966" v="16480" actId="962"/>
          <ac:spMkLst>
            <pc:docMk/>
            <pc:sldMk cId="1473708306" sldId="287"/>
            <ac:spMk id="56" creationId="{8263EC06-D02D-C56C-35DB-6C5B9A9A5148}"/>
          </ac:spMkLst>
        </pc:spChg>
        <pc:spChg chg="mod modVis">
          <ac:chgData name="Natakala, Dak" userId="cd0822e5-8453-49cd-b7f2-0e1ddb2cf849" providerId="ADAL" clId="{7B62E480-7981-4CB4-8BDC-B43B16217FDC}" dt="2023-08-24T16:11:59.971" v="16481" actId="962"/>
          <ac:spMkLst>
            <pc:docMk/>
            <pc:sldMk cId="1473708306" sldId="287"/>
            <ac:spMk id="57" creationId="{C77E7AB1-D30B-819C-6BC5-FD3BD1386718}"/>
          </ac:spMkLst>
        </pc:spChg>
        <pc:cxnChg chg="del">
          <ac:chgData name="Natakala, Dak" userId="cd0822e5-8453-49cd-b7f2-0e1ddb2cf849" providerId="ADAL" clId="{7B62E480-7981-4CB4-8BDC-B43B16217FDC}" dt="2023-08-24T16:12:00.430" v="16763" actId="478"/>
          <ac:cxnSpMkLst>
            <pc:docMk/>
            <pc:sldMk cId="1473708306" sldId="287"/>
            <ac:cxnSpMk id="7" creationId="{5D0812FD-AB9C-EE7E-42E8-8F7DC9FFAEE8}"/>
          </ac:cxnSpMkLst>
        </pc:cxnChg>
      </pc:sldChg>
      <pc:sldChg chg="del">
        <pc:chgData name="Natakala, Dak" userId="cd0822e5-8453-49cd-b7f2-0e1ddb2cf849" providerId="ADAL" clId="{7B62E480-7981-4CB4-8BDC-B43B16217FDC}" dt="2023-08-24T16:12:00.428" v="16761" actId="2696"/>
        <pc:sldMkLst>
          <pc:docMk/>
          <pc:sldMk cId="3533746815" sldId="288"/>
        </pc:sldMkLst>
      </pc:sldChg>
      <pc:sldChg chg="delSp modSp del mod replTag">
        <pc:chgData name="Natakala, Dak" userId="cd0822e5-8453-49cd-b7f2-0e1ddb2cf849" providerId="ADAL" clId="{7B62E480-7981-4CB4-8BDC-B43B16217FDC}" dt="2023-08-24T16:11:59.507" v="16430" actId="2696"/>
        <pc:sldMkLst>
          <pc:docMk/>
          <pc:sldMk cId="3740142812" sldId="288"/>
        </pc:sldMkLst>
        <pc:spChg chg="del">
          <ac:chgData name="Natakala, Dak" userId="cd0822e5-8453-49cd-b7f2-0e1ddb2cf849" providerId="ADAL" clId="{7B62E480-7981-4CB4-8BDC-B43B16217FDC}" dt="2023-08-24T11:38:20.380" v="14229" actId="478"/>
          <ac:spMkLst>
            <pc:docMk/>
            <pc:sldMk cId="3740142812" sldId="288"/>
            <ac:spMk id="2" creationId="{A9D10261-9800-E6D0-1BC7-0C116D705A59}"/>
          </ac:spMkLst>
        </pc:spChg>
        <pc:spChg chg="mod ord replST">
          <ac:chgData name="Natakala, Dak" userId="cd0822e5-8453-49cd-b7f2-0e1ddb2cf849" providerId="ADAL" clId="{7B62E480-7981-4CB4-8BDC-B43B16217FDC}" dt="2023-08-24T11:38:20.719" v="14556"/>
          <ac:spMkLst>
            <pc:docMk/>
            <pc:sldMk cId="3740142812" sldId="288"/>
            <ac:spMk id="3" creationId="{FD354F85-523B-041D-8AFC-1AAAAB821384}"/>
          </ac:spMkLst>
        </pc:spChg>
        <pc:spChg chg="del">
          <ac:chgData name="Natakala, Dak" userId="cd0822e5-8453-49cd-b7f2-0e1ddb2cf849" providerId="ADAL" clId="{7B62E480-7981-4CB4-8BDC-B43B16217FDC}" dt="2023-08-24T11:38:20.380" v="14228" actId="478"/>
          <ac:spMkLst>
            <pc:docMk/>
            <pc:sldMk cId="3740142812" sldId="288"/>
            <ac:spMk id="4" creationId="{FE8AD0EC-BF84-F0C9-DCF9-3275048628DC}"/>
          </ac:spMkLst>
        </pc:spChg>
        <pc:spChg chg="del">
          <ac:chgData name="Natakala, Dak" userId="cd0822e5-8453-49cd-b7f2-0e1ddb2cf849" providerId="ADAL" clId="{7B62E480-7981-4CB4-8BDC-B43B16217FDC}" dt="2023-08-24T11:38:20.380" v="14227" actId="478"/>
          <ac:spMkLst>
            <pc:docMk/>
            <pc:sldMk cId="3740142812" sldId="288"/>
            <ac:spMk id="5" creationId="{834E7007-271C-9177-F953-0D2F8C822D86}"/>
          </ac:spMkLst>
        </pc:spChg>
        <pc:spChg chg="mod ord replST">
          <ac:chgData name="Natakala, Dak" userId="cd0822e5-8453-49cd-b7f2-0e1ddb2cf849" providerId="ADAL" clId="{7B62E480-7981-4CB4-8BDC-B43B16217FDC}" dt="2023-08-24T11:38:20.719" v="14557"/>
          <ac:spMkLst>
            <pc:docMk/>
            <pc:sldMk cId="3740142812" sldId="288"/>
            <ac:spMk id="6" creationId="{12B9801B-1A50-AC04-4B3C-875EA4F2661F}"/>
          </ac:spMkLst>
        </pc:spChg>
        <pc:spChg chg="replST">
          <ac:chgData name="Natakala, Dak" userId="cd0822e5-8453-49cd-b7f2-0e1ddb2cf849" providerId="ADAL" clId="{7B62E480-7981-4CB4-8BDC-B43B16217FDC}" dt="2023-08-24T11:38:20.663" v="14494"/>
          <ac:spMkLst>
            <pc:docMk/>
            <pc:sldMk cId="3740142812" sldId="288"/>
            <ac:spMk id="7" creationId="{F8D5BA5F-0B91-CF23-3CF4-1129781B23A5}"/>
          </ac:spMkLst>
        </pc:spChg>
        <pc:spChg chg="mod ord replST">
          <ac:chgData name="Natakala, Dak" userId="cd0822e5-8453-49cd-b7f2-0e1ddb2cf849" providerId="ADAL" clId="{7B62E480-7981-4CB4-8BDC-B43B16217FDC}" dt="2023-08-24T11:38:20.720" v="14558"/>
          <ac:spMkLst>
            <pc:docMk/>
            <pc:sldMk cId="3740142812" sldId="288"/>
            <ac:spMk id="8" creationId="{ED542B3A-628F-935E-9FA7-B32FF3EAD9A8}"/>
          </ac:spMkLst>
        </pc:spChg>
        <pc:spChg chg="replST">
          <ac:chgData name="Natakala, Dak" userId="cd0822e5-8453-49cd-b7f2-0e1ddb2cf849" providerId="ADAL" clId="{7B62E480-7981-4CB4-8BDC-B43B16217FDC}" dt="2023-08-24T11:38:20.673" v="14506"/>
          <ac:spMkLst>
            <pc:docMk/>
            <pc:sldMk cId="3740142812" sldId="288"/>
            <ac:spMk id="9" creationId="{B65E94DE-EA39-E891-4839-693F40FA69AE}"/>
          </ac:spMkLst>
        </pc:spChg>
        <pc:spChg chg="mod ord replST">
          <ac:chgData name="Natakala, Dak" userId="cd0822e5-8453-49cd-b7f2-0e1ddb2cf849" providerId="ADAL" clId="{7B62E480-7981-4CB4-8BDC-B43B16217FDC}" dt="2023-08-24T11:38:20.720" v="14559"/>
          <ac:spMkLst>
            <pc:docMk/>
            <pc:sldMk cId="3740142812" sldId="288"/>
            <ac:spMk id="10" creationId="{297C943F-017E-C3D7-A3FB-C2E311EB9F96}"/>
          </ac:spMkLst>
        </pc:spChg>
        <pc:spChg chg="replST">
          <ac:chgData name="Natakala, Dak" userId="cd0822e5-8453-49cd-b7f2-0e1ddb2cf849" providerId="ADAL" clId="{7B62E480-7981-4CB4-8BDC-B43B16217FDC}" dt="2023-08-24T11:38:20.684" v="14518"/>
          <ac:spMkLst>
            <pc:docMk/>
            <pc:sldMk cId="3740142812" sldId="288"/>
            <ac:spMk id="11" creationId="{2C0B15B1-D4FD-BA3C-9E6E-78C74880D4DB}"/>
          </ac:spMkLst>
        </pc:spChg>
        <pc:spChg chg="mod ord replST">
          <ac:chgData name="Natakala, Dak" userId="cd0822e5-8453-49cd-b7f2-0e1ddb2cf849" providerId="ADAL" clId="{7B62E480-7981-4CB4-8BDC-B43B16217FDC}" dt="2023-08-24T11:38:20.721" v="14560"/>
          <ac:spMkLst>
            <pc:docMk/>
            <pc:sldMk cId="3740142812" sldId="288"/>
            <ac:spMk id="12" creationId="{5ECA6BD7-A6EE-4288-8DA4-AD43E08601EE}"/>
          </ac:spMkLst>
        </pc:spChg>
        <pc:spChg chg="replST">
          <ac:chgData name="Natakala, Dak" userId="cd0822e5-8453-49cd-b7f2-0e1ddb2cf849" providerId="ADAL" clId="{7B62E480-7981-4CB4-8BDC-B43B16217FDC}" dt="2023-08-24T11:38:20.695" v="14530"/>
          <ac:spMkLst>
            <pc:docMk/>
            <pc:sldMk cId="3740142812" sldId="288"/>
            <ac:spMk id="13" creationId="{0370874C-3419-559D-FD81-DFFE45646C00}"/>
          </ac:spMkLst>
        </pc:spChg>
        <pc:spChg chg="mod ord replST">
          <ac:chgData name="Natakala, Dak" userId="cd0822e5-8453-49cd-b7f2-0e1ddb2cf849" providerId="ADAL" clId="{7B62E480-7981-4CB4-8BDC-B43B16217FDC}" dt="2023-08-24T11:38:20.721" v="14561"/>
          <ac:spMkLst>
            <pc:docMk/>
            <pc:sldMk cId="3740142812" sldId="288"/>
            <ac:spMk id="14" creationId="{F5E15C8B-9CE0-C6E7-4BA9-670800565EE1}"/>
          </ac:spMkLst>
        </pc:spChg>
        <pc:spChg chg="replST">
          <ac:chgData name="Natakala, Dak" userId="cd0822e5-8453-49cd-b7f2-0e1ddb2cf849" providerId="ADAL" clId="{7B62E480-7981-4CB4-8BDC-B43B16217FDC}" dt="2023-08-24T11:38:20.704" v="14542"/>
          <ac:spMkLst>
            <pc:docMk/>
            <pc:sldMk cId="3740142812" sldId="288"/>
            <ac:spMk id="15" creationId="{0D057C6D-8329-2CF8-AA27-B58ADC6002C0}"/>
          </ac:spMkLst>
        </pc:spChg>
        <pc:spChg chg="ord replST">
          <ac:chgData name="Natakala, Dak" userId="cd0822e5-8453-49cd-b7f2-0e1ddb2cf849" providerId="ADAL" clId="{7B62E480-7981-4CB4-8BDC-B43B16217FDC}" dt="2023-08-24T11:38:20.722" v="14562"/>
          <ac:spMkLst>
            <pc:docMk/>
            <pc:sldMk cId="3740142812" sldId="288"/>
            <ac:spMk id="16" creationId="{3418F342-64D9-F575-5216-7ED0EA28D56B}"/>
          </ac:spMkLst>
        </pc:spChg>
        <pc:spChg chg="mod ord replST">
          <ac:chgData name="Natakala, Dak" userId="cd0822e5-8453-49cd-b7f2-0e1ddb2cf849" providerId="ADAL" clId="{7B62E480-7981-4CB4-8BDC-B43B16217FDC}" dt="2023-08-24T11:38:20.723" v="14563"/>
          <ac:spMkLst>
            <pc:docMk/>
            <pc:sldMk cId="3740142812" sldId="288"/>
            <ac:spMk id="17" creationId="{DB127B38-A6F0-9763-368C-F0A38F8956A4}"/>
          </ac:spMkLst>
        </pc:spChg>
        <pc:spChg chg="replST">
          <ac:chgData name="Natakala, Dak" userId="cd0822e5-8453-49cd-b7f2-0e1ddb2cf849" providerId="ADAL" clId="{7B62E480-7981-4CB4-8BDC-B43B16217FDC}" dt="2023-08-24T11:38:20.717" v="14555"/>
          <ac:spMkLst>
            <pc:docMk/>
            <pc:sldMk cId="3740142812" sldId="288"/>
            <ac:spMk id="18" creationId="{B560EDA9-AF8C-2467-D152-731928D04D75}"/>
          </ac:spMkLst>
        </pc:spChg>
      </pc:sldChg>
      <pc:sldChg chg="del">
        <pc:chgData name="Natakala, Dak" userId="cd0822e5-8453-49cd-b7f2-0e1ddb2cf849" providerId="ADAL" clId="{7B62E480-7981-4CB4-8BDC-B43B16217FDC}" dt="2023-08-24T16:12:00.425" v="16760" actId="2696"/>
        <pc:sldMkLst>
          <pc:docMk/>
          <pc:sldMk cId="637816315" sldId="289"/>
        </pc:sldMkLst>
      </pc:sldChg>
      <pc:sldChg chg="delSp modSp del mod replTag">
        <pc:chgData name="Natakala, Dak" userId="cd0822e5-8453-49cd-b7f2-0e1ddb2cf849" providerId="ADAL" clId="{7B62E480-7981-4CB4-8BDC-B43B16217FDC}" dt="2023-08-24T16:11:59.511" v="16431" actId="2696"/>
        <pc:sldMkLst>
          <pc:docMk/>
          <pc:sldMk cId="1308933068" sldId="289"/>
        </pc:sldMkLst>
        <pc:spChg chg="del">
          <ac:chgData name="Natakala, Dak" userId="cd0822e5-8453-49cd-b7f2-0e1ddb2cf849" providerId="ADAL" clId="{7B62E480-7981-4CB4-8BDC-B43B16217FDC}" dt="2023-08-24T11:38:20.384" v="14233" actId="478"/>
          <ac:spMkLst>
            <pc:docMk/>
            <pc:sldMk cId="1308933068" sldId="289"/>
            <ac:spMk id="2" creationId="{0D391F56-9E80-C831-A5B5-511ED6DCC6D5}"/>
          </ac:spMkLst>
        </pc:spChg>
        <pc:spChg chg="mod ord replST">
          <ac:chgData name="Natakala, Dak" userId="cd0822e5-8453-49cd-b7f2-0e1ddb2cf849" providerId="ADAL" clId="{7B62E480-7981-4CB4-8BDC-B43B16217FDC}" dt="2023-08-24T11:38:20.798" v="14639"/>
          <ac:spMkLst>
            <pc:docMk/>
            <pc:sldMk cId="1308933068" sldId="289"/>
            <ac:spMk id="3" creationId="{14385B4B-D36A-EAE6-05D1-6CCEAB426749}"/>
          </ac:spMkLst>
        </pc:spChg>
        <pc:spChg chg="del">
          <ac:chgData name="Natakala, Dak" userId="cd0822e5-8453-49cd-b7f2-0e1ddb2cf849" providerId="ADAL" clId="{7B62E480-7981-4CB4-8BDC-B43B16217FDC}" dt="2023-08-24T11:38:20.384" v="14232" actId="478"/>
          <ac:spMkLst>
            <pc:docMk/>
            <pc:sldMk cId="1308933068" sldId="289"/>
            <ac:spMk id="4" creationId="{3041FA6F-1E2A-19C3-AEE0-B2C74A9CE2EF}"/>
          </ac:spMkLst>
        </pc:spChg>
        <pc:spChg chg="del">
          <ac:chgData name="Natakala, Dak" userId="cd0822e5-8453-49cd-b7f2-0e1ddb2cf849" providerId="ADAL" clId="{7B62E480-7981-4CB4-8BDC-B43B16217FDC}" dt="2023-08-24T11:38:20.383" v="14231" actId="478"/>
          <ac:spMkLst>
            <pc:docMk/>
            <pc:sldMk cId="1308933068" sldId="289"/>
            <ac:spMk id="5" creationId="{FA4B75F5-F626-2793-2570-EEDC97360764}"/>
          </ac:spMkLst>
        </pc:spChg>
        <pc:spChg chg="mod ord replST">
          <ac:chgData name="Natakala, Dak" userId="cd0822e5-8453-49cd-b7f2-0e1ddb2cf849" providerId="ADAL" clId="{7B62E480-7981-4CB4-8BDC-B43B16217FDC}" dt="2023-08-24T11:38:20.799" v="14640"/>
          <ac:spMkLst>
            <pc:docMk/>
            <pc:sldMk cId="1308933068" sldId="289"/>
            <ac:spMk id="6" creationId="{0B7C9FAA-B863-8F5C-11F7-0D4E8B59A3C5}"/>
          </ac:spMkLst>
        </pc:spChg>
        <pc:spChg chg="replST">
          <ac:chgData name="Natakala, Dak" userId="cd0822e5-8453-49cd-b7f2-0e1ddb2cf849" providerId="ADAL" clId="{7B62E480-7981-4CB4-8BDC-B43B16217FDC}" dt="2023-08-24T11:38:20.743" v="14577"/>
          <ac:spMkLst>
            <pc:docMk/>
            <pc:sldMk cId="1308933068" sldId="289"/>
            <ac:spMk id="7" creationId="{8D09EF1A-DDB7-5668-A2F6-8186465D1DA5}"/>
          </ac:spMkLst>
        </pc:spChg>
        <pc:spChg chg="mod ord replST">
          <ac:chgData name="Natakala, Dak" userId="cd0822e5-8453-49cd-b7f2-0e1ddb2cf849" providerId="ADAL" clId="{7B62E480-7981-4CB4-8BDC-B43B16217FDC}" dt="2023-08-24T11:38:20.800" v="14641"/>
          <ac:spMkLst>
            <pc:docMk/>
            <pc:sldMk cId="1308933068" sldId="289"/>
            <ac:spMk id="8" creationId="{544564BA-9DA7-F9FF-6F64-825816960A7E}"/>
          </ac:spMkLst>
        </pc:spChg>
        <pc:spChg chg="replST">
          <ac:chgData name="Natakala, Dak" userId="cd0822e5-8453-49cd-b7f2-0e1ddb2cf849" providerId="ADAL" clId="{7B62E480-7981-4CB4-8BDC-B43B16217FDC}" dt="2023-08-24T11:38:20.753" v="14589"/>
          <ac:spMkLst>
            <pc:docMk/>
            <pc:sldMk cId="1308933068" sldId="289"/>
            <ac:spMk id="9" creationId="{70916766-E96D-7DFB-2B08-8DB3111579F7}"/>
          </ac:spMkLst>
        </pc:spChg>
        <pc:spChg chg="mod ord replST">
          <ac:chgData name="Natakala, Dak" userId="cd0822e5-8453-49cd-b7f2-0e1ddb2cf849" providerId="ADAL" clId="{7B62E480-7981-4CB4-8BDC-B43B16217FDC}" dt="2023-08-24T11:38:20.800" v="14642"/>
          <ac:spMkLst>
            <pc:docMk/>
            <pc:sldMk cId="1308933068" sldId="289"/>
            <ac:spMk id="10" creationId="{1BCCCF03-ECA3-08DE-9048-48C74018F7C5}"/>
          </ac:spMkLst>
        </pc:spChg>
        <pc:spChg chg="replST">
          <ac:chgData name="Natakala, Dak" userId="cd0822e5-8453-49cd-b7f2-0e1ddb2cf849" providerId="ADAL" clId="{7B62E480-7981-4CB4-8BDC-B43B16217FDC}" dt="2023-08-24T11:38:20.765" v="14601"/>
          <ac:spMkLst>
            <pc:docMk/>
            <pc:sldMk cId="1308933068" sldId="289"/>
            <ac:spMk id="11" creationId="{7F1765EB-1145-D8A8-4CD5-6574AC694C06}"/>
          </ac:spMkLst>
        </pc:spChg>
        <pc:spChg chg="mod ord replST">
          <ac:chgData name="Natakala, Dak" userId="cd0822e5-8453-49cd-b7f2-0e1ddb2cf849" providerId="ADAL" clId="{7B62E480-7981-4CB4-8BDC-B43B16217FDC}" dt="2023-08-24T11:38:20.801" v="14643"/>
          <ac:spMkLst>
            <pc:docMk/>
            <pc:sldMk cId="1308933068" sldId="289"/>
            <ac:spMk id="12" creationId="{DC363844-2A4E-DCC0-F765-1A187EDE50BD}"/>
          </ac:spMkLst>
        </pc:spChg>
        <pc:spChg chg="replST">
          <ac:chgData name="Natakala, Dak" userId="cd0822e5-8453-49cd-b7f2-0e1ddb2cf849" providerId="ADAL" clId="{7B62E480-7981-4CB4-8BDC-B43B16217FDC}" dt="2023-08-24T11:38:20.775" v="14613"/>
          <ac:spMkLst>
            <pc:docMk/>
            <pc:sldMk cId="1308933068" sldId="289"/>
            <ac:spMk id="13" creationId="{EE9D769D-EB0B-FDA3-5703-2597409DFA5B}"/>
          </ac:spMkLst>
        </pc:spChg>
        <pc:spChg chg="mod ord replST">
          <ac:chgData name="Natakala, Dak" userId="cd0822e5-8453-49cd-b7f2-0e1ddb2cf849" providerId="ADAL" clId="{7B62E480-7981-4CB4-8BDC-B43B16217FDC}" dt="2023-08-24T11:38:20.802" v="14644"/>
          <ac:spMkLst>
            <pc:docMk/>
            <pc:sldMk cId="1308933068" sldId="289"/>
            <ac:spMk id="14" creationId="{380C82BF-CBE4-B75B-15DB-52DD25E24FB0}"/>
          </ac:spMkLst>
        </pc:spChg>
        <pc:spChg chg="replST">
          <ac:chgData name="Natakala, Dak" userId="cd0822e5-8453-49cd-b7f2-0e1ddb2cf849" providerId="ADAL" clId="{7B62E480-7981-4CB4-8BDC-B43B16217FDC}" dt="2023-08-24T11:38:20.785" v="14625"/>
          <ac:spMkLst>
            <pc:docMk/>
            <pc:sldMk cId="1308933068" sldId="289"/>
            <ac:spMk id="15" creationId="{27CC57DA-2C47-5DFC-B861-D550E958789A}"/>
          </ac:spMkLst>
        </pc:spChg>
        <pc:spChg chg="mod ord replST">
          <ac:chgData name="Natakala, Dak" userId="cd0822e5-8453-49cd-b7f2-0e1ddb2cf849" providerId="ADAL" clId="{7B62E480-7981-4CB4-8BDC-B43B16217FDC}" dt="2023-08-24T11:38:20.803" v="14645"/>
          <ac:spMkLst>
            <pc:docMk/>
            <pc:sldMk cId="1308933068" sldId="289"/>
            <ac:spMk id="16" creationId="{1EB9D8F5-8CF6-D8AD-F86E-46B248AB22FC}"/>
          </ac:spMkLst>
        </pc:spChg>
        <pc:spChg chg="replST">
          <ac:chgData name="Natakala, Dak" userId="cd0822e5-8453-49cd-b7f2-0e1ddb2cf849" providerId="ADAL" clId="{7B62E480-7981-4CB4-8BDC-B43B16217FDC}" dt="2023-08-24T11:38:20.795" v="14637"/>
          <ac:spMkLst>
            <pc:docMk/>
            <pc:sldMk cId="1308933068" sldId="289"/>
            <ac:spMk id="17" creationId="{7991634F-8736-B861-536C-3F195769284B}"/>
          </ac:spMkLst>
        </pc:spChg>
        <pc:spChg chg="ord replST">
          <ac:chgData name="Natakala, Dak" userId="cd0822e5-8453-49cd-b7f2-0e1ddb2cf849" providerId="ADAL" clId="{7B62E480-7981-4CB4-8BDC-B43B16217FDC}" dt="2023-08-24T11:38:20.803" v="14646"/>
          <ac:spMkLst>
            <pc:docMk/>
            <pc:sldMk cId="1308933068" sldId="289"/>
            <ac:spMk id="18" creationId="{36B9018A-4814-4319-7B11-BC760B52162C}"/>
          </ac:spMkLst>
        </pc:spChg>
      </pc:sldChg>
      <pc:sldChg chg="addSp delSp modSp mod ord replTag modNotesTx">
        <pc:chgData name="Natakala, Dak" userId="cd0822e5-8453-49cd-b7f2-0e1ddb2cf849" providerId="ADAL" clId="{7B62E480-7981-4CB4-8BDC-B43B16217FDC}" dt="2023-08-25T10:35:16.580" v="18474"/>
        <pc:sldMkLst>
          <pc:docMk/>
          <pc:sldMk cId="2879726842" sldId="290"/>
        </pc:sldMkLst>
        <pc:spChg chg="del">
          <ac:chgData name="Natakala, Dak" userId="cd0822e5-8453-49cd-b7f2-0e1ddb2cf849" providerId="ADAL" clId="{7B62E480-7981-4CB4-8BDC-B43B16217FDC}" dt="2023-08-24T16:12:00.092" v="16495" actId="478"/>
          <ac:spMkLst>
            <pc:docMk/>
            <pc:sldMk cId="2879726842" sldId="290"/>
            <ac:spMk id="2" creationId="{466A2117-2CA8-CD78-1CB3-293D4BD9BA23}"/>
          </ac:spMkLst>
        </pc:spChg>
        <pc:spChg chg="del mod ord replST">
          <ac:chgData name="Natakala, Dak" userId="cd0822e5-8453-49cd-b7f2-0e1ddb2cf849" providerId="ADAL" clId="{7B62E480-7981-4CB4-8BDC-B43B16217FDC}" dt="2023-08-25T08:50:43.577" v="16861" actId="478"/>
          <ac:spMkLst>
            <pc:docMk/>
            <pc:sldMk cId="2879726842" sldId="290"/>
            <ac:spMk id="3" creationId="{2FA039DE-DF18-C720-8849-DAF8C0FA22BE}"/>
          </ac:spMkLst>
        </pc:spChg>
        <pc:spChg chg="del">
          <ac:chgData name="Natakala, Dak" userId="cd0822e5-8453-49cd-b7f2-0e1ddb2cf849" providerId="ADAL" clId="{7B62E480-7981-4CB4-8BDC-B43B16217FDC}" dt="2023-08-24T16:12:00.092" v="16494" actId="478"/>
          <ac:spMkLst>
            <pc:docMk/>
            <pc:sldMk cId="2879726842" sldId="290"/>
            <ac:spMk id="4" creationId="{DBEF9456-654E-EF8E-43C8-42192E5BC54F}"/>
          </ac:spMkLst>
        </pc:spChg>
        <pc:spChg chg="del">
          <ac:chgData name="Natakala, Dak" userId="cd0822e5-8453-49cd-b7f2-0e1ddb2cf849" providerId="ADAL" clId="{7B62E480-7981-4CB4-8BDC-B43B16217FDC}" dt="2023-08-24T16:12:00.091" v="16493" actId="478"/>
          <ac:spMkLst>
            <pc:docMk/>
            <pc:sldMk cId="2879726842" sldId="290"/>
            <ac:spMk id="5" creationId="{224B5B28-1339-096A-8BEA-74A09090FCE2}"/>
          </ac:spMkLst>
        </pc:spChg>
        <pc:spChg chg="del mod ord replST">
          <ac:chgData name="Natakala, Dak" userId="cd0822e5-8453-49cd-b7f2-0e1ddb2cf849" providerId="ADAL" clId="{7B62E480-7981-4CB4-8BDC-B43B16217FDC}" dt="2023-08-25T08:50:43.578" v="16862" actId="478"/>
          <ac:spMkLst>
            <pc:docMk/>
            <pc:sldMk cId="2879726842" sldId="290"/>
            <ac:spMk id="6" creationId="{8BB7B81A-4595-2D13-1DE6-066F5829BBC8}"/>
          </ac:spMkLst>
        </pc:spChg>
        <pc:spChg chg="replST">
          <ac:chgData name="Natakala, Dak" userId="cd0822e5-8453-49cd-b7f2-0e1ddb2cf849" providerId="ADAL" clId="{7B62E480-7981-4CB4-8BDC-B43B16217FDC}" dt="2023-08-24T16:12:00.240" v="16601"/>
          <ac:spMkLst>
            <pc:docMk/>
            <pc:sldMk cId="2879726842" sldId="290"/>
            <ac:spMk id="7" creationId="{C8DEAA16-FCFB-9DF5-621D-6094BA07FA4E}"/>
          </ac:spMkLst>
        </pc:spChg>
        <pc:spChg chg="del ord replST">
          <ac:chgData name="Natakala, Dak" userId="cd0822e5-8453-49cd-b7f2-0e1ddb2cf849" providerId="ADAL" clId="{7B62E480-7981-4CB4-8BDC-B43B16217FDC}" dt="2023-08-25T08:50:43.579" v="16863" actId="478"/>
          <ac:spMkLst>
            <pc:docMk/>
            <pc:sldMk cId="2879726842" sldId="290"/>
            <ac:spMk id="8" creationId="{ECB7749F-4D4E-FE01-26E1-F4A4B7EE299D}"/>
          </ac:spMkLst>
        </pc:spChg>
        <pc:spChg chg="del mod ord replST">
          <ac:chgData name="Natakala, Dak" userId="cd0822e5-8453-49cd-b7f2-0e1ddb2cf849" providerId="ADAL" clId="{7B62E480-7981-4CB4-8BDC-B43B16217FDC}" dt="2023-08-25T08:50:43.580" v="16864" actId="478"/>
          <ac:spMkLst>
            <pc:docMk/>
            <pc:sldMk cId="2879726842" sldId="290"/>
            <ac:spMk id="9" creationId="{A76BF1B3-17E4-CA8F-AEA8-225931C3033A}"/>
          </ac:spMkLst>
        </pc:spChg>
        <pc:spChg chg="replST">
          <ac:chgData name="Natakala, Dak" userId="cd0822e5-8453-49cd-b7f2-0e1ddb2cf849" providerId="ADAL" clId="{7B62E480-7981-4CB4-8BDC-B43B16217FDC}" dt="2023-08-24T16:12:00.252" v="16614"/>
          <ac:spMkLst>
            <pc:docMk/>
            <pc:sldMk cId="2879726842" sldId="290"/>
            <ac:spMk id="10" creationId="{C36B9CA8-D6CF-52A4-F29A-1D686E154276}"/>
          </ac:spMkLst>
        </pc:spChg>
        <pc:spChg chg="del mod ord replST">
          <ac:chgData name="Natakala, Dak" userId="cd0822e5-8453-49cd-b7f2-0e1ddb2cf849" providerId="ADAL" clId="{7B62E480-7981-4CB4-8BDC-B43B16217FDC}" dt="2023-08-25T08:50:43.580" v="16865" actId="478"/>
          <ac:spMkLst>
            <pc:docMk/>
            <pc:sldMk cId="2879726842" sldId="290"/>
            <ac:spMk id="11" creationId="{76F5CBAF-C93F-C823-25C8-F7F3C26AF2D4}"/>
          </ac:spMkLst>
        </pc:spChg>
        <pc:spChg chg="replST">
          <ac:chgData name="Natakala, Dak" userId="cd0822e5-8453-49cd-b7f2-0e1ddb2cf849" providerId="ADAL" clId="{7B62E480-7981-4CB4-8BDC-B43B16217FDC}" dt="2023-08-24T16:12:00.263" v="16626"/>
          <ac:spMkLst>
            <pc:docMk/>
            <pc:sldMk cId="2879726842" sldId="290"/>
            <ac:spMk id="12" creationId="{DE995080-C49D-BE98-4518-0C4AA99D9B93}"/>
          </ac:spMkLst>
        </pc:spChg>
        <pc:spChg chg="del mod ord replST">
          <ac:chgData name="Natakala, Dak" userId="cd0822e5-8453-49cd-b7f2-0e1ddb2cf849" providerId="ADAL" clId="{7B62E480-7981-4CB4-8BDC-B43B16217FDC}" dt="2023-08-25T08:50:43.581" v="16866" actId="478"/>
          <ac:spMkLst>
            <pc:docMk/>
            <pc:sldMk cId="2879726842" sldId="290"/>
            <ac:spMk id="13" creationId="{D5B4558F-B6AF-BF14-B643-7521AAEEA676}"/>
          </ac:spMkLst>
        </pc:spChg>
        <pc:spChg chg="replST">
          <ac:chgData name="Natakala, Dak" userId="cd0822e5-8453-49cd-b7f2-0e1ddb2cf849" providerId="ADAL" clId="{7B62E480-7981-4CB4-8BDC-B43B16217FDC}" dt="2023-08-24T16:12:00.275" v="16638"/>
          <ac:spMkLst>
            <pc:docMk/>
            <pc:sldMk cId="2879726842" sldId="290"/>
            <ac:spMk id="14" creationId="{09686174-9D5B-53FC-86D5-40546424223C}"/>
          </ac:spMkLst>
        </pc:spChg>
        <pc:spChg chg="del mod ord replST">
          <ac:chgData name="Natakala, Dak" userId="cd0822e5-8453-49cd-b7f2-0e1ddb2cf849" providerId="ADAL" clId="{7B62E480-7981-4CB4-8BDC-B43B16217FDC}" dt="2023-08-25T08:50:43.582" v="16867" actId="478"/>
          <ac:spMkLst>
            <pc:docMk/>
            <pc:sldMk cId="2879726842" sldId="290"/>
            <ac:spMk id="15" creationId="{3B7D3141-7B6D-70C9-EF65-591AE71CE9A3}"/>
          </ac:spMkLst>
        </pc:spChg>
        <pc:spChg chg="replST">
          <ac:chgData name="Natakala, Dak" userId="cd0822e5-8453-49cd-b7f2-0e1ddb2cf849" providerId="ADAL" clId="{7B62E480-7981-4CB4-8BDC-B43B16217FDC}" dt="2023-08-24T16:12:00.285" v="16650"/>
          <ac:spMkLst>
            <pc:docMk/>
            <pc:sldMk cId="2879726842" sldId="290"/>
            <ac:spMk id="16" creationId="{4E491B2F-FCAE-744B-8B41-3846A7B962C1}"/>
          </ac:spMkLst>
        </pc:spChg>
        <pc:spChg chg="del mod ord replST">
          <ac:chgData name="Natakala, Dak" userId="cd0822e5-8453-49cd-b7f2-0e1ddb2cf849" providerId="ADAL" clId="{7B62E480-7981-4CB4-8BDC-B43B16217FDC}" dt="2023-08-25T08:50:43.582" v="16868" actId="478"/>
          <ac:spMkLst>
            <pc:docMk/>
            <pc:sldMk cId="2879726842" sldId="290"/>
            <ac:spMk id="17" creationId="{D2C70821-3141-D7D5-D12B-889E84C92DD4}"/>
          </ac:spMkLst>
        </pc:spChg>
        <pc:spChg chg="replST">
          <ac:chgData name="Natakala, Dak" userId="cd0822e5-8453-49cd-b7f2-0e1ddb2cf849" providerId="ADAL" clId="{7B62E480-7981-4CB4-8BDC-B43B16217FDC}" dt="2023-08-24T16:12:00.296" v="16662"/>
          <ac:spMkLst>
            <pc:docMk/>
            <pc:sldMk cId="2879726842" sldId="290"/>
            <ac:spMk id="18" creationId="{DF83CC3D-68E9-334B-FB34-E433870CA675}"/>
          </ac:spMkLst>
        </pc:spChg>
        <pc:spChg chg="add mod">
          <ac:chgData name="Natakala, Dak" userId="cd0822e5-8453-49cd-b7f2-0e1ddb2cf849" providerId="ADAL" clId="{7B62E480-7981-4CB4-8BDC-B43B16217FDC}" dt="2023-08-25T08:50:43.577" v="16861" actId="478"/>
          <ac:spMkLst>
            <pc:docMk/>
            <pc:sldMk cId="2879726842" sldId="290"/>
            <ac:spMk id="23" creationId="{A99E131F-BDD0-CDA0-0967-220FDEFE2643}"/>
          </ac:spMkLst>
        </pc:spChg>
        <pc:spChg chg="mod ord replST">
          <ac:chgData name="Natakala, Dak" userId="cd0822e5-8453-49cd-b7f2-0e1ddb2cf849" providerId="ADAL" clId="{7B62E480-7981-4CB4-8BDC-B43B16217FDC}" dt="2023-08-25T08:50:43.774" v="17043"/>
          <ac:spMkLst>
            <pc:docMk/>
            <pc:sldMk cId="2879726842" sldId="290"/>
            <ac:spMk id="24" creationId="{3106F98D-525E-5A85-9D5F-6E9ED8695CAF}"/>
          </ac:spMkLst>
        </pc:spChg>
        <pc:spChg chg="del">
          <ac:chgData name="Natakala, Dak" userId="cd0822e5-8453-49cd-b7f2-0e1ddb2cf849" providerId="ADAL" clId="{7B62E480-7981-4CB4-8BDC-B43B16217FDC}" dt="2023-08-25T08:50:43.590" v="16871" actId="478"/>
          <ac:spMkLst>
            <pc:docMk/>
            <pc:sldMk cId="2879726842" sldId="290"/>
            <ac:spMk id="25" creationId="{70353892-F975-34D5-5A4C-AB216F270E86}"/>
          </ac:spMkLst>
        </pc:spChg>
        <pc:spChg chg="del">
          <ac:chgData name="Natakala, Dak" userId="cd0822e5-8453-49cd-b7f2-0e1ddb2cf849" providerId="ADAL" clId="{7B62E480-7981-4CB4-8BDC-B43B16217FDC}" dt="2023-08-25T08:50:43.589" v="16869" actId="478"/>
          <ac:spMkLst>
            <pc:docMk/>
            <pc:sldMk cId="2879726842" sldId="290"/>
            <ac:spMk id="26" creationId="{44EEF8FF-E5E7-B1D8-4F60-75689B7ABAC2}"/>
          </ac:spMkLst>
        </pc:spChg>
        <pc:spChg chg="del">
          <ac:chgData name="Natakala, Dak" userId="cd0822e5-8453-49cd-b7f2-0e1ddb2cf849" providerId="ADAL" clId="{7B62E480-7981-4CB4-8BDC-B43B16217FDC}" dt="2023-08-25T08:50:43.589" v="16870" actId="478"/>
          <ac:spMkLst>
            <pc:docMk/>
            <pc:sldMk cId="2879726842" sldId="290"/>
            <ac:spMk id="27" creationId="{D1AC3263-1FE1-A3B4-92C9-93E4210E9944}"/>
          </ac:spMkLst>
        </pc:spChg>
        <pc:spChg chg="mod ord replST">
          <ac:chgData name="Natakala, Dak" userId="cd0822e5-8453-49cd-b7f2-0e1ddb2cf849" providerId="ADAL" clId="{7B62E480-7981-4CB4-8BDC-B43B16217FDC}" dt="2023-08-25T08:50:43.775" v="17044"/>
          <ac:spMkLst>
            <pc:docMk/>
            <pc:sldMk cId="2879726842" sldId="290"/>
            <ac:spMk id="29" creationId="{4EF29E06-3791-EFD3-B2F6-0F127A834201}"/>
          </ac:spMkLst>
        </pc:spChg>
        <pc:spChg chg="replST">
          <ac:chgData name="Natakala, Dak" userId="cd0822e5-8453-49cd-b7f2-0e1ddb2cf849" providerId="ADAL" clId="{7B62E480-7981-4CB4-8BDC-B43B16217FDC}" dt="2023-08-25T08:50:43.707" v="16981"/>
          <ac:spMkLst>
            <pc:docMk/>
            <pc:sldMk cId="2879726842" sldId="290"/>
            <ac:spMk id="30" creationId="{1EBC18FA-C305-91C9-8FA5-7F583736543A}"/>
          </ac:spMkLst>
        </pc:spChg>
        <pc:spChg chg="ord replST">
          <ac:chgData name="Natakala, Dak" userId="cd0822e5-8453-49cd-b7f2-0e1ddb2cf849" providerId="ADAL" clId="{7B62E480-7981-4CB4-8BDC-B43B16217FDC}" dt="2023-08-25T08:50:43.775" v="17045"/>
          <ac:spMkLst>
            <pc:docMk/>
            <pc:sldMk cId="2879726842" sldId="290"/>
            <ac:spMk id="31" creationId="{7ECAD242-AD02-FCF3-7358-653C7A9D71EA}"/>
          </ac:spMkLst>
        </pc:spChg>
        <pc:spChg chg="mod ord replST">
          <ac:chgData name="Natakala, Dak" userId="cd0822e5-8453-49cd-b7f2-0e1ddb2cf849" providerId="ADAL" clId="{7B62E480-7981-4CB4-8BDC-B43B16217FDC}" dt="2023-08-25T08:50:43.776" v="17046"/>
          <ac:spMkLst>
            <pc:docMk/>
            <pc:sldMk cId="2879726842" sldId="290"/>
            <ac:spMk id="32" creationId="{73B37934-E2FB-60D5-F6AA-8E0B8A51787B}"/>
          </ac:spMkLst>
        </pc:spChg>
        <pc:spChg chg="replST">
          <ac:chgData name="Natakala, Dak" userId="cd0822e5-8453-49cd-b7f2-0e1ddb2cf849" providerId="ADAL" clId="{7B62E480-7981-4CB4-8BDC-B43B16217FDC}" dt="2023-08-25T08:50:43.722" v="16994"/>
          <ac:spMkLst>
            <pc:docMk/>
            <pc:sldMk cId="2879726842" sldId="290"/>
            <ac:spMk id="33" creationId="{359564B4-9E01-045A-18AE-A2E739EA9212}"/>
          </ac:spMkLst>
        </pc:spChg>
        <pc:spChg chg="mod ord replST">
          <ac:chgData name="Natakala, Dak" userId="cd0822e5-8453-49cd-b7f2-0e1ddb2cf849" providerId="ADAL" clId="{7B62E480-7981-4CB4-8BDC-B43B16217FDC}" dt="2023-08-25T08:50:43.777" v="17047"/>
          <ac:spMkLst>
            <pc:docMk/>
            <pc:sldMk cId="2879726842" sldId="290"/>
            <ac:spMk id="34" creationId="{0E1CCC3C-3239-CAF9-D2B0-AFABA2374D1F}"/>
          </ac:spMkLst>
        </pc:spChg>
        <pc:spChg chg="replST">
          <ac:chgData name="Natakala, Dak" userId="cd0822e5-8453-49cd-b7f2-0e1ddb2cf849" providerId="ADAL" clId="{7B62E480-7981-4CB4-8BDC-B43B16217FDC}" dt="2023-08-25T08:50:43.734" v="17006"/>
          <ac:spMkLst>
            <pc:docMk/>
            <pc:sldMk cId="2879726842" sldId="290"/>
            <ac:spMk id="35" creationId="{B740F9FF-8C01-7248-A292-E81B8D16324C}"/>
          </ac:spMkLst>
        </pc:spChg>
        <pc:spChg chg="mod ord replST">
          <ac:chgData name="Natakala, Dak" userId="cd0822e5-8453-49cd-b7f2-0e1ddb2cf849" providerId="ADAL" clId="{7B62E480-7981-4CB4-8BDC-B43B16217FDC}" dt="2023-08-25T08:50:43.777" v="17048"/>
          <ac:spMkLst>
            <pc:docMk/>
            <pc:sldMk cId="2879726842" sldId="290"/>
            <ac:spMk id="36" creationId="{15BC7766-6E71-0287-3C0E-6FC9F8428070}"/>
          </ac:spMkLst>
        </pc:spChg>
        <pc:spChg chg="replST">
          <ac:chgData name="Natakala, Dak" userId="cd0822e5-8453-49cd-b7f2-0e1ddb2cf849" providerId="ADAL" clId="{7B62E480-7981-4CB4-8BDC-B43B16217FDC}" dt="2023-08-25T08:50:43.747" v="17018"/>
          <ac:spMkLst>
            <pc:docMk/>
            <pc:sldMk cId="2879726842" sldId="290"/>
            <ac:spMk id="37" creationId="{345B5467-C43A-EC7D-3FA7-637AD9ACA5A0}"/>
          </ac:spMkLst>
        </pc:spChg>
        <pc:spChg chg="mod ord replST">
          <ac:chgData name="Natakala, Dak" userId="cd0822e5-8453-49cd-b7f2-0e1ddb2cf849" providerId="ADAL" clId="{7B62E480-7981-4CB4-8BDC-B43B16217FDC}" dt="2023-08-25T08:50:43.778" v="17049"/>
          <ac:spMkLst>
            <pc:docMk/>
            <pc:sldMk cId="2879726842" sldId="290"/>
            <ac:spMk id="38" creationId="{BBF99228-5406-8258-06E5-352CBDB9B99E}"/>
          </ac:spMkLst>
        </pc:spChg>
        <pc:spChg chg="replST">
          <ac:chgData name="Natakala, Dak" userId="cd0822e5-8453-49cd-b7f2-0e1ddb2cf849" providerId="ADAL" clId="{7B62E480-7981-4CB4-8BDC-B43B16217FDC}" dt="2023-08-25T08:50:43.759" v="17030"/>
          <ac:spMkLst>
            <pc:docMk/>
            <pc:sldMk cId="2879726842" sldId="290"/>
            <ac:spMk id="39" creationId="{80C6F364-799F-6669-4B79-DAD6331352B1}"/>
          </ac:spMkLst>
        </pc:spChg>
        <pc:spChg chg="mod ord replST">
          <ac:chgData name="Natakala, Dak" userId="cd0822e5-8453-49cd-b7f2-0e1ddb2cf849" providerId="ADAL" clId="{7B62E480-7981-4CB4-8BDC-B43B16217FDC}" dt="2023-08-25T08:50:43.779" v="17050"/>
          <ac:spMkLst>
            <pc:docMk/>
            <pc:sldMk cId="2879726842" sldId="290"/>
            <ac:spMk id="40" creationId="{86863F21-82CD-5CB8-5B68-6345B456F21F}"/>
          </ac:spMkLst>
        </pc:spChg>
        <pc:spChg chg="replST">
          <ac:chgData name="Natakala, Dak" userId="cd0822e5-8453-49cd-b7f2-0e1ddb2cf849" providerId="ADAL" clId="{7B62E480-7981-4CB4-8BDC-B43B16217FDC}" dt="2023-08-25T08:50:43.772" v="17042"/>
          <ac:spMkLst>
            <pc:docMk/>
            <pc:sldMk cId="2879726842" sldId="290"/>
            <ac:spMk id="41" creationId="{AD79EA59-12E2-A72B-F40C-24B434A88204}"/>
          </ac:spMkLst>
        </pc:spChg>
      </pc:sldChg>
      <pc:sldChg chg="delSp modSp del mod">
        <pc:chgData name="Natakala, Dak" userId="cd0822e5-8453-49cd-b7f2-0e1ddb2cf849" providerId="ADAL" clId="{7B62E480-7981-4CB4-8BDC-B43B16217FDC}" dt="2023-08-25T08:50:44.033" v="17227" actId="2696"/>
        <pc:sldMkLst>
          <pc:docMk/>
          <pc:sldMk cId="112945651" sldId="291"/>
        </pc:sldMkLst>
        <pc:spChg chg="del">
          <ac:chgData name="Natakala, Dak" userId="cd0822e5-8453-49cd-b7f2-0e1ddb2cf849" providerId="ADAL" clId="{7B62E480-7981-4CB4-8BDC-B43B16217FDC}" dt="2023-08-25T08:50:44.028" v="17225" actId="478"/>
          <ac:spMkLst>
            <pc:docMk/>
            <pc:sldMk cId="112945651" sldId="291"/>
            <ac:spMk id="6" creationId="{4013707E-6C29-130D-B2CB-8CBECBCB1D2F}"/>
          </ac:spMkLst>
        </pc:spChg>
        <pc:spChg chg="mod">
          <ac:chgData name="Natakala, Dak" userId="cd0822e5-8453-49cd-b7f2-0e1ddb2cf849" providerId="ADAL" clId="{7B62E480-7981-4CB4-8BDC-B43B16217FDC}" dt="2023-08-25T08:50:43.132" v="16808" actId="207"/>
          <ac:spMkLst>
            <pc:docMk/>
            <pc:sldMk cId="112945651" sldId="291"/>
            <ac:spMk id="8" creationId="{55B1BF7C-5A0F-28F4-DA6D-447E44DB5EF0}"/>
          </ac:spMkLst>
        </pc:spChg>
        <pc:spChg chg="mod modVis">
          <ac:chgData name="Natakala, Dak" userId="cd0822e5-8453-49cd-b7f2-0e1ddb2cf849" providerId="ADAL" clId="{7B62E480-7981-4CB4-8BDC-B43B16217FDC}" dt="2023-08-25T08:50:43.178" v="16809" actId="962"/>
          <ac:spMkLst>
            <pc:docMk/>
            <pc:sldMk cId="112945651" sldId="291"/>
            <ac:spMk id="10" creationId="{C88FFD4E-F532-8FA2-5C87-04D5BCBF11D6}"/>
          </ac:spMkLst>
        </pc:spChg>
        <pc:spChg chg="mod modVis">
          <ac:chgData name="Natakala, Dak" userId="cd0822e5-8453-49cd-b7f2-0e1ddb2cf849" providerId="ADAL" clId="{7B62E480-7981-4CB4-8BDC-B43B16217FDC}" dt="2023-08-25T08:50:43.188" v="16810" actId="962"/>
          <ac:spMkLst>
            <pc:docMk/>
            <pc:sldMk cId="112945651" sldId="291"/>
            <ac:spMk id="11" creationId="{8D1030E4-7E56-E277-BFAB-4389A308D83D}"/>
          </ac:spMkLst>
        </pc:spChg>
        <pc:spChg chg="mod modVis">
          <ac:chgData name="Natakala, Dak" userId="cd0822e5-8453-49cd-b7f2-0e1ddb2cf849" providerId="ADAL" clId="{7B62E480-7981-4CB4-8BDC-B43B16217FDC}" dt="2023-08-25T08:50:43.195" v="16811" actId="962"/>
          <ac:spMkLst>
            <pc:docMk/>
            <pc:sldMk cId="112945651" sldId="291"/>
            <ac:spMk id="12" creationId="{AB826B00-621E-B6E6-089E-178867C36BA1}"/>
          </ac:spMkLst>
        </pc:spChg>
        <pc:spChg chg="mod modVis">
          <ac:chgData name="Natakala, Dak" userId="cd0822e5-8453-49cd-b7f2-0e1ddb2cf849" providerId="ADAL" clId="{7B62E480-7981-4CB4-8BDC-B43B16217FDC}" dt="2023-08-25T08:50:43.206" v="16812" actId="962"/>
          <ac:spMkLst>
            <pc:docMk/>
            <pc:sldMk cId="112945651" sldId="291"/>
            <ac:spMk id="13" creationId="{9629F438-6AC0-992B-3900-B13081AE37E3}"/>
          </ac:spMkLst>
        </pc:spChg>
        <pc:spChg chg="mod modVis">
          <ac:chgData name="Natakala, Dak" userId="cd0822e5-8453-49cd-b7f2-0e1ddb2cf849" providerId="ADAL" clId="{7B62E480-7981-4CB4-8BDC-B43B16217FDC}" dt="2023-08-25T08:50:43.215" v="16813" actId="962"/>
          <ac:spMkLst>
            <pc:docMk/>
            <pc:sldMk cId="112945651" sldId="291"/>
            <ac:spMk id="14" creationId="{AE2AD06B-3B8D-2DE2-2287-630B03482D61}"/>
          </ac:spMkLst>
        </pc:spChg>
        <pc:spChg chg="mod modVis">
          <ac:chgData name="Natakala, Dak" userId="cd0822e5-8453-49cd-b7f2-0e1ddb2cf849" providerId="ADAL" clId="{7B62E480-7981-4CB4-8BDC-B43B16217FDC}" dt="2023-08-25T08:50:43.222" v="16814" actId="962"/>
          <ac:spMkLst>
            <pc:docMk/>
            <pc:sldMk cId="112945651" sldId="291"/>
            <ac:spMk id="15" creationId="{A4F77D30-B80C-1483-4A83-AFD88FF63ACB}"/>
          </ac:spMkLst>
        </pc:spChg>
        <pc:spChg chg="mod modVis">
          <ac:chgData name="Natakala, Dak" userId="cd0822e5-8453-49cd-b7f2-0e1ddb2cf849" providerId="ADAL" clId="{7B62E480-7981-4CB4-8BDC-B43B16217FDC}" dt="2023-08-25T08:50:43.229" v="16815" actId="962"/>
          <ac:spMkLst>
            <pc:docMk/>
            <pc:sldMk cId="112945651" sldId="291"/>
            <ac:spMk id="16" creationId="{29B242D5-59B3-A08C-7BEA-413E1FD47567}"/>
          </ac:spMkLst>
        </pc:spChg>
        <pc:spChg chg="mod modVis">
          <ac:chgData name="Natakala, Dak" userId="cd0822e5-8453-49cd-b7f2-0e1ddb2cf849" providerId="ADAL" clId="{7B62E480-7981-4CB4-8BDC-B43B16217FDC}" dt="2023-08-25T08:50:43.235" v="16816" actId="962"/>
          <ac:spMkLst>
            <pc:docMk/>
            <pc:sldMk cId="112945651" sldId="291"/>
            <ac:spMk id="17" creationId="{BC82411B-C673-573E-AE2D-4B9D3B5F548C}"/>
          </ac:spMkLst>
        </pc:spChg>
        <pc:spChg chg="mod modVis">
          <ac:chgData name="Natakala, Dak" userId="cd0822e5-8453-49cd-b7f2-0e1ddb2cf849" providerId="ADAL" clId="{7B62E480-7981-4CB4-8BDC-B43B16217FDC}" dt="2023-08-25T08:50:43.241" v="16817" actId="962"/>
          <ac:spMkLst>
            <pc:docMk/>
            <pc:sldMk cId="112945651" sldId="291"/>
            <ac:spMk id="18" creationId="{D718DC24-7800-C5F6-415B-384E6A1D79FA}"/>
          </ac:spMkLst>
        </pc:spChg>
        <pc:spChg chg="mod modVis">
          <ac:chgData name="Natakala, Dak" userId="cd0822e5-8453-49cd-b7f2-0e1ddb2cf849" providerId="ADAL" clId="{7B62E480-7981-4CB4-8BDC-B43B16217FDC}" dt="2023-08-25T08:50:43.250" v="16818" actId="962"/>
          <ac:spMkLst>
            <pc:docMk/>
            <pc:sldMk cId="112945651" sldId="291"/>
            <ac:spMk id="19" creationId="{C18FD1EF-D6A6-8F5A-2C2A-F28566F5DB63}"/>
          </ac:spMkLst>
        </pc:spChg>
        <pc:spChg chg="mod modVis">
          <ac:chgData name="Natakala, Dak" userId="cd0822e5-8453-49cd-b7f2-0e1ddb2cf849" providerId="ADAL" clId="{7B62E480-7981-4CB4-8BDC-B43B16217FDC}" dt="2023-08-25T08:50:43.259" v="16819" actId="962"/>
          <ac:spMkLst>
            <pc:docMk/>
            <pc:sldMk cId="112945651" sldId="291"/>
            <ac:spMk id="20" creationId="{3F6BF944-08BD-809F-5457-80ABF7B9F9B3}"/>
          </ac:spMkLst>
        </pc:spChg>
        <pc:spChg chg="mod modVis">
          <ac:chgData name="Natakala, Dak" userId="cd0822e5-8453-49cd-b7f2-0e1ddb2cf849" providerId="ADAL" clId="{7B62E480-7981-4CB4-8BDC-B43B16217FDC}" dt="2023-08-25T08:50:43.266" v="16820" actId="962"/>
          <ac:spMkLst>
            <pc:docMk/>
            <pc:sldMk cId="112945651" sldId="291"/>
            <ac:spMk id="21" creationId="{2C9A1F38-D6F5-D4DD-4D45-8D3FA76F2905}"/>
          </ac:spMkLst>
        </pc:spChg>
        <pc:spChg chg="mod modVis">
          <ac:chgData name="Natakala, Dak" userId="cd0822e5-8453-49cd-b7f2-0e1ddb2cf849" providerId="ADAL" clId="{7B62E480-7981-4CB4-8BDC-B43B16217FDC}" dt="2023-08-25T08:50:43.275" v="16821" actId="962"/>
          <ac:spMkLst>
            <pc:docMk/>
            <pc:sldMk cId="112945651" sldId="291"/>
            <ac:spMk id="22" creationId="{947077C9-117F-54A1-6657-5FF1CE779247}"/>
          </ac:spMkLst>
        </pc:spChg>
        <pc:spChg chg="mod modVis">
          <ac:chgData name="Natakala, Dak" userId="cd0822e5-8453-49cd-b7f2-0e1ddb2cf849" providerId="ADAL" clId="{7B62E480-7981-4CB4-8BDC-B43B16217FDC}" dt="2023-08-25T08:50:43.282" v="16822" actId="962"/>
          <ac:spMkLst>
            <pc:docMk/>
            <pc:sldMk cId="112945651" sldId="291"/>
            <ac:spMk id="23" creationId="{06CB1C47-9F96-90D2-D89B-803EECADD3A8}"/>
          </ac:spMkLst>
        </pc:spChg>
        <pc:spChg chg="mod modVis">
          <ac:chgData name="Natakala, Dak" userId="cd0822e5-8453-49cd-b7f2-0e1ddb2cf849" providerId="ADAL" clId="{7B62E480-7981-4CB4-8BDC-B43B16217FDC}" dt="2023-08-25T08:50:43.289" v="16823" actId="962"/>
          <ac:spMkLst>
            <pc:docMk/>
            <pc:sldMk cId="112945651" sldId="291"/>
            <ac:spMk id="24" creationId="{C083958C-AB20-68FF-0B62-D3A8E2FFF767}"/>
          </ac:spMkLst>
        </pc:spChg>
        <pc:spChg chg="mod modVis">
          <ac:chgData name="Natakala, Dak" userId="cd0822e5-8453-49cd-b7f2-0e1ddb2cf849" providerId="ADAL" clId="{7B62E480-7981-4CB4-8BDC-B43B16217FDC}" dt="2023-08-25T08:50:43.294" v="16824" actId="962"/>
          <ac:spMkLst>
            <pc:docMk/>
            <pc:sldMk cId="112945651" sldId="291"/>
            <ac:spMk id="25" creationId="{CDF325FA-D289-14D4-525D-2F0B657EA1F9}"/>
          </ac:spMkLst>
        </pc:spChg>
        <pc:spChg chg="mod modVis">
          <ac:chgData name="Natakala, Dak" userId="cd0822e5-8453-49cd-b7f2-0e1ddb2cf849" providerId="ADAL" clId="{7B62E480-7981-4CB4-8BDC-B43B16217FDC}" dt="2023-08-25T08:50:43.300" v="16825" actId="962"/>
          <ac:spMkLst>
            <pc:docMk/>
            <pc:sldMk cId="112945651" sldId="291"/>
            <ac:spMk id="26" creationId="{64D1D954-1297-323D-1EE3-9795C5F5D7E3}"/>
          </ac:spMkLst>
        </pc:spChg>
        <pc:spChg chg="mod modVis">
          <ac:chgData name="Natakala, Dak" userId="cd0822e5-8453-49cd-b7f2-0e1ddb2cf849" providerId="ADAL" clId="{7B62E480-7981-4CB4-8BDC-B43B16217FDC}" dt="2023-08-25T08:50:43.308" v="16826" actId="962"/>
          <ac:spMkLst>
            <pc:docMk/>
            <pc:sldMk cId="112945651" sldId="291"/>
            <ac:spMk id="27" creationId="{31181421-8452-97EE-B443-FD826E87400C}"/>
          </ac:spMkLst>
        </pc:spChg>
        <pc:spChg chg="mod modVis">
          <ac:chgData name="Natakala, Dak" userId="cd0822e5-8453-49cd-b7f2-0e1ddb2cf849" providerId="ADAL" clId="{7B62E480-7981-4CB4-8BDC-B43B16217FDC}" dt="2023-08-25T08:50:43.316" v="16827" actId="962"/>
          <ac:spMkLst>
            <pc:docMk/>
            <pc:sldMk cId="112945651" sldId="291"/>
            <ac:spMk id="28" creationId="{E1D84615-72AF-49A9-7604-0C74FBD5BDAE}"/>
          </ac:spMkLst>
        </pc:spChg>
        <pc:spChg chg="mod modVis">
          <ac:chgData name="Natakala, Dak" userId="cd0822e5-8453-49cd-b7f2-0e1ddb2cf849" providerId="ADAL" clId="{7B62E480-7981-4CB4-8BDC-B43B16217FDC}" dt="2023-08-25T08:50:43.324" v="16828" actId="962"/>
          <ac:spMkLst>
            <pc:docMk/>
            <pc:sldMk cId="112945651" sldId="291"/>
            <ac:spMk id="29" creationId="{CB93D21D-07FB-DBB4-5681-93E96351EC14}"/>
          </ac:spMkLst>
        </pc:spChg>
        <pc:spChg chg="mod modVis">
          <ac:chgData name="Natakala, Dak" userId="cd0822e5-8453-49cd-b7f2-0e1ddb2cf849" providerId="ADAL" clId="{7B62E480-7981-4CB4-8BDC-B43B16217FDC}" dt="2023-08-25T08:50:43.332" v="16829" actId="962"/>
          <ac:spMkLst>
            <pc:docMk/>
            <pc:sldMk cId="112945651" sldId="291"/>
            <ac:spMk id="30" creationId="{C747E488-F7C7-D771-1750-0F6B488513E1}"/>
          </ac:spMkLst>
        </pc:spChg>
        <pc:spChg chg="mod modVis">
          <ac:chgData name="Natakala, Dak" userId="cd0822e5-8453-49cd-b7f2-0e1ddb2cf849" providerId="ADAL" clId="{7B62E480-7981-4CB4-8BDC-B43B16217FDC}" dt="2023-08-25T08:50:43.339" v="16830" actId="962"/>
          <ac:spMkLst>
            <pc:docMk/>
            <pc:sldMk cId="112945651" sldId="291"/>
            <ac:spMk id="31" creationId="{F84733B8-6137-EF0C-9F48-78C69B1F81A7}"/>
          </ac:spMkLst>
        </pc:spChg>
        <pc:spChg chg="mod modVis">
          <ac:chgData name="Natakala, Dak" userId="cd0822e5-8453-49cd-b7f2-0e1ddb2cf849" providerId="ADAL" clId="{7B62E480-7981-4CB4-8BDC-B43B16217FDC}" dt="2023-08-25T08:50:43.345" v="16831" actId="962"/>
          <ac:spMkLst>
            <pc:docMk/>
            <pc:sldMk cId="112945651" sldId="291"/>
            <ac:spMk id="32" creationId="{A0BDCB25-CD0C-831D-9F1F-6FAF192A9F58}"/>
          </ac:spMkLst>
        </pc:spChg>
        <pc:spChg chg="mod modVis">
          <ac:chgData name="Natakala, Dak" userId="cd0822e5-8453-49cd-b7f2-0e1ddb2cf849" providerId="ADAL" clId="{7B62E480-7981-4CB4-8BDC-B43B16217FDC}" dt="2023-08-25T08:50:43.351" v="16832" actId="962"/>
          <ac:spMkLst>
            <pc:docMk/>
            <pc:sldMk cId="112945651" sldId="291"/>
            <ac:spMk id="33" creationId="{A1A6161A-236D-994C-F760-431951A75802}"/>
          </ac:spMkLst>
        </pc:spChg>
        <pc:spChg chg="mod modVis">
          <ac:chgData name="Natakala, Dak" userId="cd0822e5-8453-49cd-b7f2-0e1ddb2cf849" providerId="ADAL" clId="{7B62E480-7981-4CB4-8BDC-B43B16217FDC}" dt="2023-08-25T08:50:43.357" v="16833" actId="962"/>
          <ac:spMkLst>
            <pc:docMk/>
            <pc:sldMk cId="112945651" sldId="291"/>
            <ac:spMk id="34" creationId="{19802A8D-E282-C2B5-944C-12BE01980C70}"/>
          </ac:spMkLst>
        </pc:spChg>
        <pc:spChg chg="mod modVis">
          <ac:chgData name="Natakala, Dak" userId="cd0822e5-8453-49cd-b7f2-0e1ddb2cf849" providerId="ADAL" clId="{7B62E480-7981-4CB4-8BDC-B43B16217FDC}" dt="2023-08-25T08:50:43.365" v="16834" actId="962"/>
          <ac:spMkLst>
            <pc:docMk/>
            <pc:sldMk cId="112945651" sldId="291"/>
            <ac:spMk id="35" creationId="{5EB8A2C6-28FB-C776-66CD-BC5572950770}"/>
          </ac:spMkLst>
        </pc:spChg>
        <pc:spChg chg="mod modVis">
          <ac:chgData name="Natakala, Dak" userId="cd0822e5-8453-49cd-b7f2-0e1ddb2cf849" providerId="ADAL" clId="{7B62E480-7981-4CB4-8BDC-B43B16217FDC}" dt="2023-08-25T08:50:43.374" v="16835" actId="962"/>
          <ac:spMkLst>
            <pc:docMk/>
            <pc:sldMk cId="112945651" sldId="291"/>
            <ac:spMk id="36" creationId="{0E602B1B-140D-70E1-AA97-29C85B4103B8}"/>
          </ac:spMkLst>
        </pc:spChg>
        <pc:spChg chg="mod modVis">
          <ac:chgData name="Natakala, Dak" userId="cd0822e5-8453-49cd-b7f2-0e1ddb2cf849" providerId="ADAL" clId="{7B62E480-7981-4CB4-8BDC-B43B16217FDC}" dt="2023-08-25T08:50:43.381" v="16836" actId="962"/>
          <ac:spMkLst>
            <pc:docMk/>
            <pc:sldMk cId="112945651" sldId="291"/>
            <ac:spMk id="37" creationId="{477D37FB-AB04-1E62-C79E-50EFCEE380F5}"/>
          </ac:spMkLst>
        </pc:spChg>
        <pc:spChg chg="mod modVis">
          <ac:chgData name="Natakala, Dak" userId="cd0822e5-8453-49cd-b7f2-0e1ddb2cf849" providerId="ADAL" clId="{7B62E480-7981-4CB4-8BDC-B43B16217FDC}" dt="2023-08-25T08:50:43.388" v="16837" actId="962"/>
          <ac:spMkLst>
            <pc:docMk/>
            <pc:sldMk cId="112945651" sldId="291"/>
            <ac:spMk id="38" creationId="{04454B39-C292-3B53-830B-553674BC8C35}"/>
          </ac:spMkLst>
        </pc:spChg>
        <pc:spChg chg="mod modVis">
          <ac:chgData name="Natakala, Dak" userId="cd0822e5-8453-49cd-b7f2-0e1ddb2cf849" providerId="ADAL" clId="{7B62E480-7981-4CB4-8BDC-B43B16217FDC}" dt="2023-08-25T08:50:43.393" v="16838" actId="962"/>
          <ac:spMkLst>
            <pc:docMk/>
            <pc:sldMk cId="112945651" sldId="291"/>
            <ac:spMk id="39" creationId="{76A76E17-C321-50F0-162E-94742A5BC69F}"/>
          </ac:spMkLst>
        </pc:spChg>
        <pc:spChg chg="mod modVis">
          <ac:chgData name="Natakala, Dak" userId="cd0822e5-8453-49cd-b7f2-0e1ddb2cf849" providerId="ADAL" clId="{7B62E480-7981-4CB4-8BDC-B43B16217FDC}" dt="2023-08-25T08:50:43.400" v="16839" actId="962"/>
          <ac:spMkLst>
            <pc:docMk/>
            <pc:sldMk cId="112945651" sldId="291"/>
            <ac:spMk id="40" creationId="{06642EB5-7B59-0C25-1437-EA37AAB413FE}"/>
          </ac:spMkLst>
        </pc:spChg>
        <pc:spChg chg="mod modVis">
          <ac:chgData name="Natakala, Dak" userId="cd0822e5-8453-49cd-b7f2-0e1ddb2cf849" providerId="ADAL" clId="{7B62E480-7981-4CB4-8BDC-B43B16217FDC}" dt="2023-08-25T08:50:43.405" v="16840" actId="962"/>
          <ac:spMkLst>
            <pc:docMk/>
            <pc:sldMk cId="112945651" sldId="291"/>
            <ac:spMk id="41" creationId="{BFEAFF93-7969-7D01-4927-660F95EE4802}"/>
          </ac:spMkLst>
        </pc:spChg>
        <pc:spChg chg="mod modVis">
          <ac:chgData name="Natakala, Dak" userId="cd0822e5-8453-49cd-b7f2-0e1ddb2cf849" providerId="ADAL" clId="{7B62E480-7981-4CB4-8BDC-B43B16217FDC}" dt="2023-08-25T08:50:43.410" v="16841" actId="962"/>
          <ac:spMkLst>
            <pc:docMk/>
            <pc:sldMk cId="112945651" sldId="291"/>
            <ac:spMk id="42" creationId="{DF857307-220D-887E-A24E-E87D82BED82E}"/>
          </ac:spMkLst>
        </pc:spChg>
        <pc:spChg chg="mod modVis">
          <ac:chgData name="Natakala, Dak" userId="cd0822e5-8453-49cd-b7f2-0e1ddb2cf849" providerId="ADAL" clId="{7B62E480-7981-4CB4-8BDC-B43B16217FDC}" dt="2023-08-25T08:50:43.418" v="16842" actId="962"/>
          <ac:spMkLst>
            <pc:docMk/>
            <pc:sldMk cId="112945651" sldId="291"/>
            <ac:spMk id="43" creationId="{8DB18D0D-28F9-AEBC-C5E7-4CDF24DB7505}"/>
          </ac:spMkLst>
        </pc:spChg>
        <pc:spChg chg="mod modVis">
          <ac:chgData name="Natakala, Dak" userId="cd0822e5-8453-49cd-b7f2-0e1ddb2cf849" providerId="ADAL" clId="{7B62E480-7981-4CB4-8BDC-B43B16217FDC}" dt="2023-08-25T08:50:43.426" v="16843" actId="962"/>
          <ac:spMkLst>
            <pc:docMk/>
            <pc:sldMk cId="112945651" sldId="291"/>
            <ac:spMk id="44" creationId="{4ED4DB16-90FB-E3A1-918F-0AC6718294F7}"/>
          </ac:spMkLst>
        </pc:spChg>
        <pc:spChg chg="mod modVis">
          <ac:chgData name="Natakala, Dak" userId="cd0822e5-8453-49cd-b7f2-0e1ddb2cf849" providerId="ADAL" clId="{7B62E480-7981-4CB4-8BDC-B43B16217FDC}" dt="2023-08-25T08:50:43.432" v="16844" actId="962"/>
          <ac:spMkLst>
            <pc:docMk/>
            <pc:sldMk cId="112945651" sldId="291"/>
            <ac:spMk id="45" creationId="{D2993053-4E86-DFF2-B797-789AC55C5B23}"/>
          </ac:spMkLst>
        </pc:spChg>
        <pc:spChg chg="mod modVis">
          <ac:chgData name="Natakala, Dak" userId="cd0822e5-8453-49cd-b7f2-0e1ddb2cf849" providerId="ADAL" clId="{7B62E480-7981-4CB4-8BDC-B43B16217FDC}" dt="2023-08-25T08:50:43.440" v="16845" actId="962"/>
          <ac:spMkLst>
            <pc:docMk/>
            <pc:sldMk cId="112945651" sldId="291"/>
            <ac:spMk id="46" creationId="{2FA66EF5-895C-F942-13F4-2A2ACEF4BCFB}"/>
          </ac:spMkLst>
        </pc:spChg>
        <pc:spChg chg="mod modVis">
          <ac:chgData name="Natakala, Dak" userId="cd0822e5-8453-49cd-b7f2-0e1ddb2cf849" providerId="ADAL" clId="{7B62E480-7981-4CB4-8BDC-B43B16217FDC}" dt="2023-08-25T08:50:43.445" v="16846" actId="962"/>
          <ac:spMkLst>
            <pc:docMk/>
            <pc:sldMk cId="112945651" sldId="291"/>
            <ac:spMk id="47" creationId="{DAFCFFF3-4549-3EFC-22C2-1EC93BD86FD9}"/>
          </ac:spMkLst>
        </pc:spChg>
        <pc:spChg chg="mod modVis">
          <ac:chgData name="Natakala, Dak" userId="cd0822e5-8453-49cd-b7f2-0e1ddb2cf849" providerId="ADAL" clId="{7B62E480-7981-4CB4-8BDC-B43B16217FDC}" dt="2023-08-25T08:50:43.452" v="16847" actId="962"/>
          <ac:spMkLst>
            <pc:docMk/>
            <pc:sldMk cId="112945651" sldId="291"/>
            <ac:spMk id="48" creationId="{7CAF549A-2F5D-2E6F-AF35-07248109B965}"/>
          </ac:spMkLst>
        </pc:spChg>
        <pc:spChg chg="mod modVis">
          <ac:chgData name="Natakala, Dak" userId="cd0822e5-8453-49cd-b7f2-0e1ddb2cf849" providerId="ADAL" clId="{7B62E480-7981-4CB4-8BDC-B43B16217FDC}" dt="2023-08-25T08:50:43.457" v="16848" actId="962"/>
          <ac:spMkLst>
            <pc:docMk/>
            <pc:sldMk cId="112945651" sldId="291"/>
            <ac:spMk id="49" creationId="{5E94BCCF-819D-D76C-BDC6-D5E837D37131}"/>
          </ac:spMkLst>
        </pc:spChg>
        <pc:spChg chg="mod modVis">
          <ac:chgData name="Natakala, Dak" userId="cd0822e5-8453-49cd-b7f2-0e1ddb2cf849" providerId="ADAL" clId="{7B62E480-7981-4CB4-8BDC-B43B16217FDC}" dt="2023-08-25T08:50:43.463" v="16849" actId="962"/>
          <ac:spMkLst>
            <pc:docMk/>
            <pc:sldMk cId="112945651" sldId="291"/>
            <ac:spMk id="50" creationId="{9412D8A2-DC0A-B07D-86FB-AD5AFCB00B3C}"/>
          </ac:spMkLst>
        </pc:spChg>
        <pc:spChg chg="mod modVis">
          <ac:chgData name="Natakala, Dak" userId="cd0822e5-8453-49cd-b7f2-0e1ddb2cf849" providerId="ADAL" clId="{7B62E480-7981-4CB4-8BDC-B43B16217FDC}" dt="2023-08-25T08:50:43.471" v="16850" actId="962"/>
          <ac:spMkLst>
            <pc:docMk/>
            <pc:sldMk cId="112945651" sldId="291"/>
            <ac:spMk id="51" creationId="{08EDA3D5-E11E-D6DF-4699-2FD1BBFF1DE5}"/>
          </ac:spMkLst>
        </pc:spChg>
        <pc:spChg chg="mod modVis">
          <ac:chgData name="Natakala, Dak" userId="cd0822e5-8453-49cd-b7f2-0e1ddb2cf849" providerId="ADAL" clId="{7B62E480-7981-4CB4-8BDC-B43B16217FDC}" dt="2023-08-25T08:50:43.477" v="16851" actId="962"/>
          <ac:spMkLst>
            <pc:docMk/>
            <pc:sldMk cId="112945651" sldId="291"/>
            <ac:spMk id="52" creationId="{F4AFD667-BED6-802F-BBFA-B66616B4EF6F}"/>
          </ac:spMkLst>
        </pc:spChg>
        <pc:spChg chg="mod modVis">
          <ac:chgData name="Natakala, Dak" userId="cd0822e5-8453-49cd-b7f2-0e1ddb2cf849" providerId="ADAL" clId="{7B62E480-7981-4CB4-8BDC-B43B16217FDC}" dt="2023-08-25T08:50:43.486" v="16852" actId="962"/>
          <ac:spMkLst>
            <pc:docMk/>
            <pc:sldMk cId="112945651" sldId="291"/>
            <ac:spMk id="53" creationId="{75559EE4-6971-A874-8B30-9A47D28CA7C4}"/>
          </ac:spMkLst>
        </pc:spChg>
        <pc:spChg chg="mod modVis">
          <ac:chgData name="Natakala, Dak" userId="cd0822e5-8453-49cd-b7f2-0e1ddb2cf849" providerId="ADAL" clId="{7B62E480-7981-4CB4-8BDC-B43B16217FDC}" dt="2023-08-25T08:50:43.492" v="16853" actId="962"/>
          <ac:spMkLst>
            <pc:docMk/>
            <pc:sldMk cId="112945651" sldId="291"/>
            <ac:spMk id="54" creationId="{31DF7E64-3EB4-2DE1-0054-CA30C4B185EF}"/>
          </ac:spMkLst>
        </pc:spChg>
        <pc:spChg chg="mod modVis">
          <ac:chgData name="Natakala, Dak" userId="cd0822e5-8453-49cd-b7f2-0e1ddb2cf849" providerId="ADAL" clId="{7B62E480-7981-4CB4-8BDC-B43B16217FDC}" dt="2023-08-25T08:50:43.498" v="16854" actId="962"/>
          <ac:spMkLst>
            <pc:docMk/>
            <pc:sldMk cId="112945651" sldId="291"/>
            <ac:spMk id="55" creationId="{D530DF2B-F679-12E5-D00E-8BC1A29422DD}"/>
          </ac:spMkLst>
        </pc:spChg>
        <pc:spChg chg="mod modVis">
          <ac:chgData name="Natakala, Dak" userId="cd0822e5-8453-49cd-b7f2-0e1ddb2cf849" providerId="ADAL" clId="{7B62E480-7981-4CB4-8BDC-B43B16217FDC}" dt="2023-08-25T08:50:43.506" v="16855" actId="962"/>
          <ac:spMkLst>
            <pc:docMk/>
            <pc:sldMk cId="112945651" sldId="291"/>
            <ac:spMk id="56" creationId="{3F193660-B32F-AB95-98FF-A84200C2CA98}"/>
          </ac:spMkLst>
        </pc:spChg>
        <pc:spChg chg="mod modVis">
          <ac:chgData name="Natakala, Dak" userId="cd0822e5-8453-49cd-b7f2-0e1ddb2cf849" providerId="ADAL" clId="{7B62E480-7981-4CB4-8BDC-B43B16217FDC}" dt="2023-08-25T08:50:43.512" v="16856" actId="962"/>
          <ac:spMkLst>
            <pc:docMk/>
            <pc:sldMk cId="112945651" sldId="291"/>
            <ac:spMk id="57" creationId="{6EA61FC6-241C-C7B7-F946-8C50CBCF9100}"/>
          </ac:spMkLst>
        </pc:spChg>
        <pc:cxnChg chg="del">
          <ac:chgData name="Natakala, Dak" userId="cd0822e5-8453-49cd-b7f2-0e1ddb2cf849" providerId="ADAL" clId="{7B62E480-7981-4CB4-8BDC-B43B16217FDC}" dt="2023-08-25T08:50:44.030" v="17226" actId="478"/>
          <ac:cxnSpMkLst>
            <pc:docMk/>
            <pc:sldMk cId="112945651" sldId="291"/>
            <ac:cxnSpMk id="7" creationId="{AA1309DD-D8EB-D172-AACC-A8797FD24A28}"/>
          </ac:cxnSpMkLst>
        </pc:cxnChg>
      </pc:sldChg>
      <pc:sldChg chg="new del">
        <pc:chgData name="Natakala, Dak" userId="cd0822e5-8453-49cd-b7f2-0e1ddb2cf849" providerId="ADAL" clId="{7B62E480-7981-4CB4-8BDC-B43B16217FDC}" dt="2023-08-25T08:47:44.263" v="16793" actId="2696"/>
        <pc:sldMkLst>
          <pc:docMk/>
          <pc:sldMk cId="2137680291" sldId="291"/>
        </pc:sldMkLst>
      </pc:sldChg>
      <pc:sldChg chg="del">
        <pc:chgData name="Natakala, Dak" userId="cd0822e5-8453-49cd-b7f2-0e1ddb2cf849" providerId="ADAL" clId="{7B62E480-7981-4CB4-8BDC-B43B16217FDC}" dt="2023-08-25T08:50:44.024" v="17224" actId="2696"/>
        <pc:sldMkLst>
          <pc:docMk/>
          <pc:sldMk cId="1082810657" sldId="292"/>
        </pc:sldMkLst>
      </pc:sldChg>
      <pc:sldChg chg="del">
        <pc:chgData name="Natakala, Dak" userId="cd0822e5-8453-49cd-b7f2-0e1ddb2cf849" providerId="ADAL" clId="{7B62E480-7981-4CB4-8BDC-B43B16217FDC}" dt="2023-08-25T08:50:44.019" v="17223" actId="2696"/>
        <pc:sldMkLst>
          <pc:docMk/>
          <pc:sldMk cId="4092951413" sldId="293"/>
        </pc:sldMkLst>
      </pc:sldChg>
      <pc:sldChg chg="delSp modSp del mod replTag">
        <pc:chgData name="Natakala, Dak" userId="cd0822e5-8453-49cd-b7f2-0e1ddb2cf849" providerId="ADAL" clId="{7B62E480-7981-4CB4-8BDC-B43B16217FDC}" dt="2023-08-25T08:51:34.068" v="17233" actId="2696"/>
        <pc:sldMkLst>
          <pc:docMk/>
          <pc:sldMk cId="4003922767" sldId="294"/>
        </pc:sldMkLst>
        <pc:spChg chg="del">
          <ac:chgData name="Natakala, Dak" userId="cd0822e5-8453-49cd-b7f2-0e1ddb2cf849" providerId="ADAL" clId="{7B62E480-7981-4CB4-8BDC-B43B16217FDC}" dt="2023-08-25T08:50:43.568" v="16860" actId="478"/>
          <ac:spMkLst>
            <pc:docMk/>
            <pc:sldMk cId="4003922767" sldId="294"/>
            <ac:spMk id="2" creationId="{E42EE4E4-82FF-374B-A2EA-EE04B0514394}"/>
          </ac:spMkLst>
        </pc:spChg>
        <pc:spChg chg="mod ord replST">
          <ac:chgData name="Natakala, Dak" userId="cd0822e5-8453-49cd-b7f2-0e1ddb2cf849" providerId="ADAL" clId="{7B62E480-7981-4CB4-8BDC-B43B16217FDC}" dt="2023-08-25T08:50:43.682" v="16961"/>
          <ac:spMkLst>
            <pc:docMk/>
            <pc:sldMk cId="4003922767" sldId="294"/>
            <ac:spMk id="3" creationId="{69EB2F84-F634-B77E-9F8C-6BCCC9BBFD92}"/>
          </ac:spMkLst>
        </pc:spChg>
        <pc:spChg chg="del">
          <ac:chgData name="Natakala, Dak" userId="cd0822e5-8453-49cd-b7f2-0e1ddb2cf849" providerId="ADAL" clId="{7B62E480-7981-4CB4-8BDC-B43B16217FDC}" dt="2023-08-25T08:50:43.567" v="16859" actId="478"/>
          <ac:spMkLst>
            <pc:docMk/>
            <pc:sldMk cId="4003922767" sldId="294"/>
            <ac:spMk id="4" creationId="{53F547AE-CBEA-626E-A329-ECB5B2A56F03}"/>
          </ac:spMkLst>
        </pc:spChg>
        <pc:spChg chg="del">
          <ac:chgData name="Natakala, Dak" userId="cd0822e5-8453-49cd-b7f2-0e1ddb2cf849" providerId="ADAL" clId="{7B62E480-7981-4CB4-8BDC-B43B16217FDC}" dt="2023-08-25T08:50:43.566" v="16858" actId="478"/>
          <ac:spMkLst>
            <pc:docMk/>
            <pc:sldMk cId="4003922767" sldId="294"/>
            <ac:spMk id="5" creationId="{DDEAFC6A-E38B-11BC-23BC-A48172745D2F}"/>
          </ac:spMkLst>
        </pc:spChg>
        <pc:spChg chg="mod ord replST">
          <ac:chgData name="Natakala, Dak" userId="cd0822e5-8453-49cd-b7f2-0e1ddb2cf849" providerId="ADAL" clId="{7B62E480-7981-4CB4-8BDC-B43B16217FDC}" dt="2023-08-25T08:50:43.683" v="16962"/>
          <ac:spMkLst>
            <pc:docMk/>
            <pc:sldMk cId="4003922767" sldId="294"/>
            <ac:spMk id="6" creationId="{201592D5-46E2-E9D8-C750-C7BA2DB725E7}"/>
          </ac:spMkLst>
        </pc:spChg>
        <pc:spChg chg="replST">
          <ac:chgData name="Natakala, Dak" userId="cd0822e5-8453-49cd-b7f2-0e1ddb2cf849" providerId="ADAL" clId="{7B62E480-7981-4CB4-8BDC-B43B16217FDC}" dt="2023-08-25T08:50:43.620" v="16900"/>
          <ac:spMkLst>
            <pc:docMk/>
            <pc:sldMk cId="4003922767" sldId="294"/>
            <ac:spMk id="7" creationId="{A9B0F71A-80DC-4537-22D9-B860B3D2B938}"/>
          </ac:spMkLst>
        </pc:spChg>
        <pc:spChg chg="mod ord replST">
          <ac:chgData name="Natakala, Dak" userId="cd0822e5-8453-49cd-b7f2-0e1ddb2cf849" providerId="ADAL" clId="{7B62E480-7981-4CB4-8BDC-B43B16217FDC}" dt="2023-08-25T08:50:43.683" v="16963"/>
          <ac:spMkLst>
            <pc:docMk/>
            <pc:sldMk cId="4003922767" sldId="294"/>
            <ac:spMk id="8" creationId="{E0E1BD83-B109-DFFB-4005-D26C62E21897}"/>
          </ac:spMkLst>
        </pc:spChg>
        <pc:spChg chg="replST">
          <ac:chgData name="Natakala, Dak" userId="cd0822e5-8453-49cd-b7f2-0e1ddb2cf849" providerId="ADAL" clId="{7B62E480-7981-4CB4-8BDC-B43B16217FDC}" dt="2023-08-25T08:50:43.633" v="16912"/>
          <ac:spMkLst>
            <pc:docMk/>
            <pc:sldMk cId="4003922767" sldId="294"/>
            <ac:spMk id="9" creationId="{159CCC30-34FE-50C2-90C9-2ED9CE6FA9BF}"/>
          </ac:spMkLst>
        </pc:spChg>
        <pc:spChg chg="mod ord replST">
          <ac:chgData name="Natakala, Dak" userId="cd0822e5-8453-49cd-b7f2-0e1ddb2cf849" providerId="ADAL" clId="{7B62E480-7981-4CB4-8BDC-B43B16217FDC}" dt="2023-08-25T08:50:43.684" v="16964"/>
          <ac:spMkLst>
            <pc:docMk/>
            <pc:sldMk cId="4003922767" sldId="294"/>
            <ac:spMk id="10" creationId="{70BD7699-C023-5382-BCE7-3A2DBED6F392}"/>
          </ac:spMkLst>
        </pc:spChg>
        <pc:spChg chg="replST">
          <ac:chgData name="Natakala, Dak" userId="cd0822e5-8453-49cd-b7f2-0e1ddb2cf849" providerId="ADAL" clId="{7B62E480-7981-4CB4-8BDC-B43B16217FDC}" dt="2023-08-25T08:50:43.644" v="16924"/>
          <ac:spMkLst>
            <pc:docMk/>
            <pc:sldMk cId="4003922767" sldId="294"/>
            <ac:spMk id="11" creationId="{6665B32D-B7B8-A315-3103-3229382E1E9B}"/>
          </ac:spMkLst>
        </pc:spChg>
        <pc:spChg chg="mod ord replST">
          <ac:chgData name="Natakala, Dak" userId="cd0822e5-8453-49cd-b7f2-0e1ddb2cf849" providerId="ADAL" clId="{7B62E480-7981-4CB4-8BDC-B43B16217FDC}" dt="2023-08-25T08:50:43.685" v="16965"/>
          <ac:spMkLst>
            <pc:docMk/>
            <pc:sldMk cId="4003922767" sldId="294"/>
            <ac:spMk id="12" creationId="{7B7E3957-8BAD-C439-4A3C-25FD0B099639}"/>
          </ac:spMkLst>
        </pc:spChg>
        <pc:spChg chg="replST">
          <ac:chgData name="Natakala, Dak" userId="cd0822e5-8453-49cd-b7f2-0e1ddb2cf849" providerId="ADAL" clId="{7B62E480-7981-4CB4-8BDC-B43B16217FDC}" dt="2023-08-25T08:50:43.656" v="16936"/>
          <ac:spMkLst>
            <pc:docMk/>
            <pc:sldMk cId="4003922767" sldId="294"/>
            <ac:spMk id="13" creationId="{CBE7E799-7E71-F563-76B0-6640A8FBC409}"/>
          </ac:spMkLst>
        </pc:spChg>
        <pc:spChg chg="mod ord replST">
          <ac:chgData name="Natakala, Dak" userId="cd0822e5-8453-49cd-b7f2-0e1ddb2cf849" providerId="ADAL" clId="{7B62E480-7981-4CB4-8BDC-B43B16217FDC}" dt="2023-08-25T08:50:43.686" v="16966"/>
          <ac:spMkLst>
            <pc:docMk/>
            <pc:sldMk cId="4003922767" sldId="294"/>
            <ac:spMk id="14" creationId="{E711B74C-ED3B-F569-E210-B7F1ED74BF34}"/>
          </ac:spMkLst>
        </pc:spChg>
        <pc:spChg chg="replST">
          <ac:chgData name="Natakala, Dak" userId="cd0822e5-8453-49cd-b7f2-0e1ddb2cf849" providerId="ADAL" clId="{7B62E480-7981-4CB4-8BDC-B43B16217FDC}" dt="2023-08-25T08:50:43.668" v="16948"/>
          <ac:spMkLst>
            <pc:docMk/>
            <pc:sldMk cId="4003922767" sldId="294"/>
            <ac:spMk id="15" creationId="{1827F000-82D9-8FF8-0C67-973542EA682F}"/>
          </ac:spMkLst>
        </pc:spChg>
        <pc:spChg chg="mod ord replST">
          <ac:chgData name="Natakala, Dak" userId="cd0822e5-8453-49cd-b7f2-0e1ddb2cf849" providerId="ADAL" clId="{7B62E480-7981-4CB4-8BDC-B43B16217FDC}" dt="2023-08-25T08:50:43.686" v="16967"/>
          <ac:spMkLst>
            <pc:docMk/>
            <pc:sldMk cId="4003922767" sldId="294"/>
            <ac:spMk id="16" creationId="{605D5054-62C3-0AF8-ED58-9BE169FF6EA1}"/>
          </ac:spMkLst>
        </pc:spChg>
        <pc:spChg chg="replST">
          <ac:chgData name="Natakala, Dak" userId="cd0822e5-8453-49cd-b7f2-0e1ddb2cf849" providerId="ADAL" clId="{7B62E480-7981-4CB4-8BDC-B43B16217FDC}" dt="2023-08-25T08:50:43.679" v="16960"/>
          <ac:spMkLst>
            <pc:docMk/>
            <pc:sldMk cId="4003922767" sldId="294"/>
            <ac:spMk id="17" creationId="{39E2B206-5CC7-C5F4-6F7A-CAD094F98967}"/>
          </ac:spMkLst>
        </pc:spChg>
      </pc:sldChg>
      <pc:sldChg chg="delSp modSp mod ord replTag modNotesTx">
        <pc:chgData name="Natakala, Dak" userId="cd0822e5-8453-49cd-b7f2-0e1ddb2cf849" providerId="ADAL" clId="{7B62E480-7981-4CB4-8BDC-B43B16217FDC}" dt="2023-08-25T10:36:59.692" v="18541"/>
        <pc:sldMkLst>
          <pc:docMk/>
          <pc:sldMk cId="3542851891" sldId="295"/>
        </pc:sldMkLst>
        <pc:spChg chg="del">
          <ac:chgData name="Natakala, Dak" userId="cd0822e5-8453-49cd-b7f2-0e1ddb2cf849" providerId="ADAL" clId="{7B62E480-7981-4CB4-8BDC-B43B16217FDC}" dt="2023-08-25T08:50:43.606" v="16886" actId="478"/>
          <ac:spMkLst>
            <pc:docMk/>
            <pc:sldMk cId="3542851891" sldId="295"/>
            <ac:spMk id="2" creationId="{67560BE5-78F8-6A42-7907-984EC7CB7AD9}"/>
          </ac:spMkLst>
        </pc:spChg>
        <pc:spChg chg="mod ord replST">
          <ac:chgData name="Natakala, Dak" userId="cd0822e5-8453-49cd-b7f2-0e1ddb2cf849" providerId="ADAL" clId="{7B62E480-7981-4CB4-8BDC-B43B16217FDC}" dt="2023-08-25T08:50:43.987" v="17209"/>
          <ac:spMkLst>
            <pc:docMk/>
            <pc:sldMk cId="3542851891" sldId="295"/>
            <ac:spMk id="3" creationId="{D665D954-37DF-CB9D-BB7E-9B439DB35DAF}"/>
          </ac:spMkLst>
        </pc:spChg>
        <pc:spChg chg="del">
          <ac:chgData name="Natakala, Dak" userId="cd0822e5-8453-49cd-b7f2-0e1ddb2cf849" providerId="ADAL" clId="{7B62E480-7981-4CB4-8BDC-B43B16217FDC}" dt="2023-08-25T08:50:43.605" v="16885" actId="478"/>
          <ac:spMkLst>
            <pc:docMk/>
            <pc:sldMk cId="3542851891" sldId="295"/>
            <ac:spMk id="4" creationId="{768B9EBD-4407-E0A2-6716-6EE3FBD45AD0}"/>
          </ac:spMkLst>
        </pc:spChg>
        <pc:spChg chg="del">
          <ac:chgData name="Natakala, Dak" userId="cd0822e5-8453-49cd-b7f2-0e1ddb2cf849" providerId="ADAL" clId="{7B62E480-7981-4CB4-8BDC-B43B16217FDC}" dt="2023-08-25T08:50:43.605" v="16884" actId="478"/>
          <ac:spMkLst>
            <pc:docMk/>
            <pc:sldMk cId="3542851891" sldId="295"/>
            <ac:spMk id="5" creationId="{CBF35B73-3893-99DB-FD5F-0ADA142A2625}"/>
          </ac:spMkLst>
        </pc:spChg>
        <pc:spChg chg="mod ord replST">
          <ac:chgData name="Natakala, Dak" userId="cd0822e5-8453-49cd-b7f2-0e1ddb2cf849" providerId="ADAL" clId="{7B62E480-7981-4CB4-8BDC-B43B16217FDC}" dt="2023-08-25T08:50:43.989" v="17210"/>
          <ac:spMkLst>
            <pc:docMk/>
            <pc:sldMk cId="3542851891" sldId="295"/>
            <ac:spMk id="6" creationId="{F84AF775-46E3-B7F9-C77D-8F5E095FDBB5}"/>
          </ac:spMkLst>
        </pc:spChg>
        <pc:spChg chg="replST">
          <ac:chgData name="Natakala, Dak" userId="cd0822e5-8453-49cd-b7f2-0e1ddb2cf849" providerId="ADAL" clId="{7B62E480-7981-4CB4-8BDC-B43B16217FDC}" dt="2023-08-25T08:50:43.925" v="17147"/>
          <ac:spMkLst>
            <pc:docMk/>
            <pc:sldMk cId="3542851891" sldId="295"/>
            <ac:spMk id="7" creationId="{242ADCCF-E688-F3A8-F1C5-5F67134DAD52}"/>
          </ac:spMkLst>
        </pc:spChg>
        <pc:spChg chg="mod ord replST">
          <ac:chgData name="Natakala, Dak" userId="cd0822e5-8453-49cd-b7f2-0e1ddb2cf849" providerId="ADAL" clId="{7B62E480-7981-4CB4-8BDC-B43B16217FDC}" dt="2023-08-25T08:50:43.990" v="17211"/>
          <ac:spMkLst>
            <pc:docMk/>
            <pc:sldMk cId="3542851891" sldId="295"/>
            <ac:spMk id="8" creationId="{B8126889-FBD5-AB44-F1B8-DB51EBF68E1B}"/>
          </ac:spMkLst>
        </pc:spChg>
        <pc:spChg chg="replST">
          <ac:chgData name="Natakala, Dak" userId="cd0822e5-8453-49cd-b7f2-0e1ddb2cf849" providerId="ADAL" clId="{7B62E480-7981-4CB4-8BDC-B43B16217FDC}" dt="2023-08-25T08:50:43.936" v="17159"/>
          <ac:spMkLst>
            <pc:docMk/>
            <pc:sldMk cId="3542851891" sldId="295"/>
            <ac:spMk id="9" creationId="{B9D9D5B3-3618-08CD-6E02-C919151DDFB7}"/>
          </ac:spMkLst>
        </pc:spChg>
        <pc:spChg chg="mod ord replST">
          <ac:chgData name="Natakala, Dak" userId="cd0822e5-8453-49cd-b7f2-0e1ddb2cf849" providerId="ADAL" clId="{7B62E480-7981-4CB4-8BDC-B43B16217FDC}" dt="2023-08-25T08:50:43.990" v="17212"/>
          <ac:spMkLst>
            <pc:docMk/>
            <pc:sldMk cId="3542851891" sldId="295"/>
            <ac:spMk id="10" creationId="{D105D3C4-4766-96E5-FC2B-552490CB2233}"/>
          </ac:spMkLst>
        </pc:spChg>
        <pc:spChg chg="replST">
          <ac:chgData name="Natakala, Dak" userId="cd0822e5-8453-49cd-b7f2-0e1ddb2cf849" providerId="ADAL" clId="{7B62E480-7981-4CB4-8BDC-B43B16217FDC}" dt="2023-08-25T08:50:43.948" v="17171"/>
          <ac:spMkLst>
            <pc:docMk/>
            <pc:sldMk cId="3542851891" sldId="295"/>
            <ac:spMk id="11" creationId="{FAE63DF4-E55F-C40F-2942-537CFFBED3A2}"/>
          </ac:spMkLst>
        </pc:spChg>
        <pc:spChg chg="mod ord replST">
          <ac:chgData name="Natakala, Dak" userId="cd0822e5-8453-49cd-b7f2-0e1ddb2cf849" providerId="ADAL" clId="{7B62E480-7981-4CB4-8BDC-B43B16217FDC}" dt="2023-08-25T08:50:43.991" v="17213"/>
          <ac:spMkLst>
            <pc:docMk/>
            <pc:sldMk cId="3542851891" sldId="295"/>
            <ac:spMk id="12" creationId="{AF7FB487-932D-DEDB-6E3B-00F3E3A1D358}"/>
          </ac:spMkLst>
        </pc:spChg>
        <pc:spChg chg="replST">
          <ac:chgData name="Natakala, Dak" userId="cd0822e5-8453-49cd-b7f2-0e1ddb2cf849" providerId="ADAL" clId="{7B62E480-7981-4CB4-8BDC-B43B16217FDC}" dt="2023-08-25T08:50:43.960" v="17183"/>
          <ac:spMkLst>
            <pc:docMk/>
            <pc:sldMk cId="3542851891" sldId="295"/>
            <ac:spMk id="13" creationId="{5AE62A41-FB9B-2E68-7037-69CD020D9160}"/>
          </ac:spMkLst>
        </pc:spChg>
        <pc:spChg chg="mod ord replST">
          <ac:chgData name="Natakala, Dak" userId="cd0822e5-8453-49cd-b7f2-0e1ddb2cf849" providerId="ADAL" clId="{7B62E480-7981-4CB4-8BDC-B43B16217FDC}" dt="2023-08-25T08:50:43.992" v="17214"/>
          <ac:spMkLst>
            <pc:docMk/>
            <pc:sldMk cId="3542851891" sldId="295"/>
            <ac:spMk id="14" creationId="{0FED62FD-7A9C-1E3A-93C1-F770D3BD0890}"/>
          </ac:spMkLst>
        </pc:spChg>
        <pc:spChg chg="replST">
          <ac:chgData name="Natakala, Dak" userId="cd0822e5-8453-49cd-b7f2-0e1ddb2cf849" providerId="ADAL" clId="{7B62E480-7981-4CB4-8BDC-B43B16217FDC}" dt="2023-08-25T08:50:43.972" v="17195"/>
          <ac:spMkLst>
            <pc:docMk/>
            <pc:sldMk cId="3542851891" sldId="295"/>
            <ac:spMk id="15" creationId="{E68D1C46-E971-6E0E-0F17-C728FEF6BBA5}"/>
          </ac:spMkLst>
        </pc:spChg>
        <pc:spChg chg="ord replST">
          <ac:chgData name="Natakala, Dak" userId="cd0822e5-8453-49cd-b7f2-0e1ddb2cf849" providerId="ADAL" clId="{7B62E480-7981-4CB4-8BDC-B43B16217FDC}" dt="2023-08-25T08:50:43.993" v="17215"/>
          <ac:spMkLst>
            <pc:docMk/>
            <pc:sldMk cId="3542851891" sldId="295"/>
            <ac:spMk id="16" creationId="{B5997718-11CF-6A32-1FA6-03FA12B6FE6B}"/>
          </ac:spMkLst>
        </pc:spChg>
        <pc:spChg chg="mod ord replST">
          <ac:chgData name="Natakala, Dak" userId="cd0822e5-8453-49cd-b7f2-0e1ddb2cf849" providerId="ADAL" clId="{7B62E480-7981-4CB4-8BDC-B43B16217FDC}" dt="2023-08-25T08:50:43.993" v="17216"/>
          <ac:spMkLst>
            <pc:docMk/>
            <pc:sldMk cId="3542851891" sldId="295"/>
            <ac:spMk id="17" creationId="{B5C3AA51-470C-9934-A5EC-C9FC9FA1B4FE}"/>
          </ac:spMkLst>
        </pc:spChg>
        <pc:spChg chg="replST">
          <ac:chgData name="Natakala, Dak" userId="cd0822e5-8453-49cd-b7f2-0e1ddb2cf849" providerId="ADAL" clId="{7B62E480-7981-4CB4-8BDC-B43B16217FDC}" dt="2023-08-25T08:50:43.986" v="17208"/>
          <ac:spMkLst>
            <pc:docMk/>
            <pc:sldMk cId="3542851891" sldId="295"/>
            <ac:spMk id="18" creationId="{01EF0CDB-06D1-E1ED-28B2-7EBFFF4B3D0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25/08/2023</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8-24T18:15:49.751"/>
    </inkml:context>
    <inkml:brush xml:id="br0">
      <inkml:brushProperty name="width" value="0.035" units="cm"/>
      <inkml:brushProperty name="height" value="0.035" units="cm"/>
    </inkml:brush>
  </inkml:definitions>
  <inkml:trace contextRef="#ctx0" brushRef="#br0">1 0 11448 0 0,'0'0'0'0'0</inkml:trace>
</inkml:ink>
</file>

<file path=ppt/ink/ink2.xml><?xml version="1.0" encoding="utf-8"?>
<inkml:ink xmlns:inkml="http://www.w3.org/2003/InkML">
  <inkml:definitions>
    <inkml:context xml:id="ctx0">
      <inkml:inkSource xml:id="inkSrc0">
        <inkml:traceFormat>
          <inkml:channel name="X" type="integer" min="-2.14748E9" max="2.14748E9" units="dev"/>
          <inkml:channel name="Y" type="integer" min="-2.14748E9" max="2.14748E9" units="dev"/>
          <inkml:channel name="F" type="integer" max="32767" units="dev"/>
        </inkml:traceFormat>
        <inkml:channelProperties>
          <inkml:channelProperty channel="X" name="resolution" value="1000" units="1/dev"/>
          <inkml:channelProperty channel="Y" name="resolution" value="1000" units="1/dev"/>
          <inkml:channelProperty channel="F" name="resolution" value="0" units="1/dev"/>
        </inkml:channelProperties>
      </inkml:inkSource>
      <inkml:timestamp xml:id="ts0" timeString="2023-08-23T13:02:47.565"/>
    </inkml:context>
    <inkml:brush xml:id="br0">
      <inkml:brushProperty name="width" value="0.025" units="cm"/>
      <inkml:brushProperty name="height" value="0.025" units="cm"/>
      <inkml:brushProperty name="fitToCurve" value="1"/>
    </inkml:brush>
  </inkml:definitions>
  <inkml:trace contextRef="#ctx0" brushRef="#br0">2536 103128 10152,'0'0'0,"-20"0"264,16 1 16,-4-1-8,-8 11 8,-1-3 160,4 6 8,0 0-8,-3 0 8,4 6-192,5 3 8,-2 3-8,1 2 16,2-2-16,-1 3-8,3 3 0,-1 5 16,-2-1 24,2-6 0,1 5 0,1-2 0,6-5-33,-2-6 17,6-2-8,1 0 8,6-6-56,2-2 0,4-4 0,2-1 8,6-7-72,1 0 8,2-7 0,-5-6 8,-2 1-56,-4-1 16,-2-4 0,1-5-8,-3-1-8,-4-1 0,4-1 8,5-2 0,-5-1-16,-5 2 0,4-5 8,-3-3-8,4 8-8,-8 6 0,-2-3 0,2 3 8,-4 6-16,-1 2 0,-2 4 0,2 1 8,-6 3 8,2 0 128,-2 7-112,-1-2 8,0 2-8,2-3 8,-10 20 0,-1 10-16,-2-3 16,4 1-8,3-2 0,1 1 32,0-8 0,-1 8 0,0-1 16,3-2-16,-2-3 0,1 2 0,2-6 0,2 4-16,-4-4 8,4 2-8,0-1 8,2-3-64,-2 1 8,2-2-8,-2 0 8,2 0-48,-2-2-8,2-1 8,0-2 0,0 0-40,0-1 8,0-4 8,2 0-8,-2 0-16,0 0-8</inkml:trace>
  <inkml:trace contextRef="#ctx0" brushRef="#br0">3384 102928 13560,'0'0'0,"-25"28"0,9-8 312,0 2 8,0 7-8,-2 6 8,-1-4 88,3-4 0,-9 7 8,4 1-1,4-1-135,4-2 0,1-2 0,1 11 8,3-2-136,4-9 0,-2-2 0,2 2 16,8-3-64,2-2 0,2-8 8,7 2 8,1-4-64,3 4 8,4-7 0</inkml:trace>
  <inkml:trace contextRef="#ctx0" brushRef="#br0">3402 103342 12360,'0'0'0,"-5"-20"0,5 12 304,0 2 0,4 0 0,-3 4 0,3 2 904,-1 0-808,1 4-72,-4-2 0,4-2 8,2 6-9,7 5-167,1 0 8,-2 4-8,-7 4 8,-1 0-16,-2-3 0,-4-8 0,0 8 0,-4-3-8,-2 0 0,-4-2 0,-3 7 8,0-5-24,3 2 8,-3-3 0,1 2 0,4-2-56,0-4 0,2 0 0,-4 2 8,4-3-72,1-1 16,7-2 16,0-6-24</inkml:trace>
  <inkml:trace contextRef="#ctx0" brushRef="#br0">3662 103264 12552,'0'0'0,"-19"9"0,4 2 232,-1-2 0,-3 2-8,1 3 8,-2 1 8,1-2 16,-2 10-16,0 0 8,2 2 8,8-5 0,-1 4 8,4-1-8,1-8-128,6 3 8,2-5 0,6 0 0,1-4 8,4-1 0,5 0-9,17-1 25,1-3-48,-1-1 16,-2-3-16</inkml:trace>
  <inkml:trace contextRef="#ctx0" brushRef="#br0">3780 103556 9944,'0'0'1688,"-12"25"-968,5-17 8,4 0-8,-5 3 8,0 2-232,4-1 8,0-2-8,8 1-1,-4-2-167,-4-5-8,0 7 8,0-5-8,4 2-24,0-2 0,0-4 0,-3-2 8,2 2-88,-2 0 8,1-1 536,4-1-600</inkml:trace>
  <inkml:trace contextRef="#ctx0" brushRef="#br0">4400 103136 12360,'0'0'1968,"-13"-8"-720,10 11-624,-11 9 7,-4 6-263,1 2 0,0 2 0,-6 2 8,8 0-264,-3 3 16,5 2 0,-1 6-8,2-4 24,0-5 16,-5 2-24,5 6 24,6-3-8,0-6 0,2-3 0,4-4 0,8 3-16,6-4 0,9-2-8,5-3 16,-1-2-32,2-6-8,-1 3 8</inkml:trace>
  <inkml:trace contextRef="#ctx0" brushRef="#br0">4034 103308 14368,'0'0'1952,"12"4"-1481,-7-4 9,10 3-8,15 1-184,1-3 0,3-2 0,0 1 0,1 0-192,-3 0 0,2 0 8,0-3-8,-3-5-56,-6 3 0,7-6 8</inkml:trace>
  <inkml:trace contextRef="#ctx0" brushRef="#br0">4576 103044 14272,'0'0'464,"17"8"-320,-15-4-8,12 8 8,6 2 144,-2 6 0,1-1 0,-7 1 0,2 1-49,-6-4 1,2 4 0,-4 3 8,1-4 40,-3 2 8,0-2-8,0 3 8,-7 3 112,-1-7 16,3 0 0,-10 8-8,5-1-8,-4-3-8,-4-1 8,-6 3 8,-1-6-96,5-1 0,-4 1 8,0-6-8,3 4-48,4-5 8,-2-2-16,3-5 16,4-5-72,2 1 8,1-1-8,5-6 8,3 2-208,3 2 0,-4 2 0</inkml:trace>
  <inkml:trace contextRef="#ctx0" brushRef="#br0">5112 103242 13864,'0'0'0,"13"-1"0,-4 2 304,-1-1 16,-2 3-16,8-2 8,-3 2 104,5-3-8,-2 4 8</inkml:trace>
  <inkml:trace contextRef="#ctx0" brushRef="#br0">5048 103452 14568,'0'0'0,"-12"12"0,8-4 88,4-4 0,4 2 0,0 2 8,1 0 136,2-1 8,1-7-8,8 5 16,6-1 64,1-4-1,1-1 1,5-2 8,5 3-160,-6-5 0,2 0 0</inkml:trace>
  <inkml:trace contextRef="#ctx0" brushRef="#br0">5820 103242 14568,'0'0'704,"-17"5"-344,12 2 0,5-2 191,-3 0-7,2-1 8,-3 8-8,0 4-280,1-1 0,2 1 8,1 14 0,-3-3-104,0 0 8,3 0 8,0-7-8,0 1-32,0-4 0,6-2 0,-6-1 8,1 1-24,3-3 0,-1 1-8,1-4 16,-3-1 0,2-3 0,-3-1 0,1 3-8,-1-6 144,0 2-136,0-2 1136,-1-2-1176,-6-2 0,3 2 8,0-3 8,-4-7-8,4 2 16,0 0-8,1 5 8,2-1 0,-5-3-16,4 0 16,2 2-8,0-2 8,0-1 8,2-1-8,0 2 8,2-8 8,5-7-8,1 3 0,-5 6 8,3-1 0,-2 3-24,2 2 0,3-6 8,2 1-8,-2 0 0,-1 5-8,2 1 8,-4 1 0,-2 7-32,-1 1 16,-5-3-8,1 3 0,2 0 72,-7 8-96,-1 7-24,-1-3 0,2-2 0,0 13 0,-2 0 0,4-7-8,2 1 8,6-5-8,-2-6-8,2 0 0,6-4-8,15 0 8,3-4 0,4-6 0,5-2-8,-1 2 16,-1-1-16,-8 9 0,0-1 0,-5-2 16,-1-1-24,-7 0 0,-2 0 0,-6 7 0,-1 2-8,-6-5 0,-1 7 0,-1 1-16,-2-2 8,-1 0 0,-4 4 0,0 6-40,0-1 16,0-6-8,-2 4 8,-1-5-32,6-3 8,2 2 0,2-2 8,-2 1-8,3-5 8,0 3-8,4 0 16,-4-1 0,3-2-32,2 2 48,2-3 0,-3 0-8,0 0 8,8 0 8,9-4-8,-5-3 16,2 2 0,2-9 0,-4 1 0,-2-4 8,2 4-8,-1-6 8,-6 5-8,2 2 8,-3-7 0,0 6 0,-2 0 0,-4 4 0,4 1 0,-5 5 0,2 2 0,0-2 0,-3 2 0,-3 1 0,0 0 0,3 1 0,-1 3 0,-3 0 8,2 0-8,2 8 8,-8 1 0,4 0 0,0-5 0,0 5 16,2 1 0,0-6 0,-1-4 8,3 5-8,-4-4 32,3-2 8,-2-2-8,3 3 8,0 3 8,0-6 144,0 3 456,8-4-624,3-1-8,3-2 0,1-1 0,6-4 0,4 0 0,-9 3-8,-4-4 8,0 1 0,-2 2-16,-6 4 0,3-2 0,1 0 8,0 2-16,0 0 8,-7-1 8,8 3-8,-5 0-8,-2-4 0,0 3 8,2-6 0,0 6-16,-2-2 8,0 3 0,-1-1 0,2-2-8,-2 2 24,2 1-16,1 1-8,0 7-8,-1-5 8,-6-2 0,7 3 8,-4-1-8,0-2 0,3 6 8,-3 1 8,0-2 0,0-4 8,-3 8-8,-2 1 24,1-2-8,-2-2 8,1 2 8,-1 0 16,0-5 0,4-2-8,0 5 24,-2-4 0,2 1 0,0-3 88,0-1 432,8-1-520,2-6-8,5 3 0,1-3 0,16-8 0,-2 2-16,-8 2 8,-6 1-8,-7 10 8,-2-2-24,-1 0 0,-1 0 8,-2 2 256,2 2-272,-3 0-8,0 0 48,1 7-32,2-8-24,-2 3 8,3 0-8,3 3 16,1-2-24,-2-1 8,2-1-8,8-3 16,0-3-24,2-2 0,-2-3 0</inkml:trace>
  <inkml:trace contextRef="#ctx0" brushRef="#br0">6524 103044 16384,'0'0'0,"-20"0"543,15 0 17,4-3-16,-3 3 16,4 3 776,4-3-888,0 0-248,-1 0-8,0 0 8</inkml:trace>
  <inkml:trace contextRef="#ctx0" brushRef="#br0">7630 102568 14168,'0'0'0,"-13"11"0,-10 3 0,1 9 264,-9 0 8,-4 9-8,-14 9 8,0 0 272,5 2 16,4 3-17,6 8 17,5 0-184,2 2 0,-2 9 0,-5 4 8,6-7-200,6-1 8,-2 7-8,-1 5 16,5-5 80,8-14 8,8 4-16,5 7 16,2-11 8,2-9 0,5 5 0,3-1 16,5-4-40,-3-10 16,5 0-8,-4 2 8,2-1-40,-6-7 8,4 2-8,-2-8 16,-3-4-96,-2-6 16,1-2-16,-3-3 8,-3-4-64,0-2-8,2-4 8</inkml:trace>
  <inkml:trace contextRef="#ctx0" brushRef="#br0">7716 103066 8640,'0'0'0,"3"-26"0,-3 7 408,0 10-8,1 0 8,2-1-8,-2 1 256,-1 5 1888,0-4-1392,0 12-568,-1 4-224,-3-7 0,0 9 0,-6 31 7,-3 0-143,3-6 8,2-3 0,-7 0 8,6 0-40,0 2 8,1 0 0,-2 1 8,2-1-16,7-5 0,-7-2 8,3-5 0,0 1-16,5-5-8,-3-1 8,3-2 0,-1-2-16,2-2-8,2-3 0,2 1 16,-1-2-24,1-1 0,0-1 8,3-1-8,-2-2 24,-2-2 16,6 0 0,9 0-8,2 0-16,-3-2-8,-3-2 0,2 4 16,0-3-24,-3-1 0,-5-2 0,1 2 16,0 3 48,-2 1 8,-3-4-8,0 3 8,-1 1-24,2 0 208,-4 0-208,1 0-32,-1 0 160,2 0-160,3 0-88,-2 0 0,2 0 0</inkml:trace>
  <inkml:trace contextRef="#ctx0" brushRef="#br0">8404 103270 13360,'0'0'568,"13"-3"0,-7 6 0,3 1 0,3-4 56,-3 1-9,2 1 9,10 0 0,-1 0-288,2 2 0,-1 1 8,3-3 0,-1 0-272,-1 0 0,0 0 0,-3-6 0,0 2-72,-5 0 8,-1-2-8</inkml:trace>
  <inkml:trace contextRef="#ctx0" brushRef="#br0">8586 103190 12456,'0'0'0,"-13"9"0,-2 1 0,1-3 184,2 1-8,1 3 0,-2 2 8,4 0 184,1 1 8,2-2 0,5 3 0,-2 0-8,2-4 8,1-2 8,0 7-8,0 0-168,1-4-9,2-3 9,-2 1 0,3 2-64,2-5 0,2 2 0</inkml:trace>
  <inkml:trace contextRef="#ctx0" brushRef="#br0">8992 102950 13560,'0'0'2832,"15"11"-2385,-9-3 9,-3 3 0,6 23 0,0 3-200,-1-2-8,-4-3 8,0 4-8,-2-7-40,-2-3 0,2 3 0,1 2 0,-1-2 0,-2-3 8,-2 2 0,1 0 0,-1 2-32,0-6-8,-4 0 0,2-3 16,-1-2-56,0-9 8,-2 4-8,-2-1 8,4-4-24,-5-5 8,1 0 0,-2-4 8,-2 1-56,4-2 8,0-2-8,-10-3 8,1-4-24,0 1 8,5-3 0,3 2 0,0-2-24,0 1 0,7-1 0,4 2 8,1-1 24,-4 3 8,-2-1-8,4 0 8,4-1 8,-2 5 0,4-2 0,-2-2 8,3 4-8,-3 1 0,1 4 8,3-1 0,-1-3-16,3-2 16,2 4-8,13-1 0,-2-1-24,-3 5 8,-2 3 0,-1-8 8,2 3-40,-2 1 16,-1-3-8</inkml:trace>
  <inkml:trace contextRef="#ctx0" brushRef="#br0">9396 103004 15776,'0'0'6807,"0"26"-6359,3 6-256,-3 0-8,-3-4 8,3 2-8,-1-5-72,-2-2-8,3 2 8,-3 0 0,-1 2-16,0-6-8,0-3 0,3 6 0,-1-4-8,2-3 16,0-4-8,0 4 0,2-2-8,-1-2 0,3-6 0,-2-3 8,-2-1-16,4-2 72,1-5-72,-1 0-16,1 3 8,-2 1 0,8-27 0,0-2 0,0 3-8,-2-1 8,3-2 0,3 4 16,-2 1 0,-2 0 0,3-2 0,-1 3 16,5-1-8,-4 7 0,-1 1 0,1 3 16,-4 0-8,-1 1 0,2 1 8,-8 6 40,5 0 8,-4 2 0,1 3 88,-4 0-48,2 8-96,-2-1-80,2-1 8,-3 1-8</inkml:trace>
  <inkml:trace contextRef="#ctx0" brushRef="#br0">8708 103690 13464,'0'0'864,"20"0"-440,-6 0 16,2 3 40,4-1 0,4-6 7,10 0 1,5 3 0,6-3 8,5 0 0,3-5 8,-3 1-144,0 5-8,7-5 8,5-2 0,-6 3-88,-7 2 0,-5 0-8,6-7 16,0 5 16,-9 2 8,-1-2-8,2-2 8,-5 6-16,-8-1 8,-4 0 0,-3 2 0,-8 0-104,-1 2-8,-3 0 8,-1-4 8,-4 3-88,-2 1 16,-3 4-8</inkml:trace>
  <inkml:trace contextRef="#ctx0" brushRef="#br0">9074 103832 11552,'0'0'3440,"12"13"-2816,-9-9 0,1 7-1,2 6-247,2-2 8,-3 2 8,7 5-8,-2 1-208,-5-3 8,0-1-8,-2 7 16,-2-4-64,-1-2-8,1 1 8,2 2 0,-2-4-24,-2-4 8,-4 1-8,1 0 16,4-2-24,-7-2 16,6-1-8,0 1 0,1-2-8,0-2 0,0-4 0,0 0 104,0-3 0,-3-1-104,-1 0 0,1 0 104,3-5-88,-8 1-16,3-1 0,-4-2 8,-10-11 0,1-1-16,5 1 16,3 4-16,2 5 8,4 4 16,0 0-8,4-1 8,0 2-8,3-1 8,1 1 96,1 0-88,3-1-24,-1 2 8,2 3-8,8-5 0,7 1-8,-1 3-8,-2 1 0</inkml:trace>
  <inkml:trace contextRef="#ctx0" brushRef="#br0">9372 103974 15680,'0'0'1263,"15"-1"-831,-11 2 224,-3 2 8,-1 1 0,4 2 0,0-3-288,0 0 8,0 0 8,2 7-8,2 2-216,-4 1 16,0-3-8,-6 4 8,0-4-80,0 2 16,-2-3-16,-6 2 16,4-2-32,-2 1 8,-1-3 0,-5 7 0,4-5-32,0-4 0,1 3-8,-4-1 16,4-3-40,5-2 40,8 0-40,-3-1-32</inkml:trace>
  <inkml:trace contextRef="#ctx0" brushRef="#br0">9550 103974 14272,'0'0'0,"-19"7"232,10-5 0,1 2 0,-5 8 16,2 1 192,2 2 0,0-2-1,0 2 1,3-2 176,2 0 0,4 2 8,0-1 0,0 1-288,0-7 8,6 4-16,6-3 16,-3-2-56,-2-2 8,-2-1-8</inkml:trace>
  <inkml:trace contextRef="#ctx0" brushRef="#br0">9692 104052 15576,'0'0'0,"-15"19"688,8-14-1,3 0 9,-3 8 0,-2 2 112,1 1 8,4-2-8,0-3 8,6 1-440,4-6 0,-1 4-8,8-4 8,-1 0-208,3-5 0,-1-2 8</inkml:trace>
  <inkml:trace contextRef="#ctx0" brushRef="#br0">9750 103900 13768,'0'0'0,"-15"-8"0,10 4 424,-1 4-8,3-1 8,-1 2 8,0 2-8,3-2 839,1 4-335</inkml:trace>
  <inkml:trace contextRef="#ctx0" brushRef="#br0">10216 103148 11256,'0'0'4632,"-9"22"-4200,5-6 7,4-2-15,-2 16 16,2 8-208,0-3 0,4-3-8,-4 1 8,2 0-72,-2-3 8,-2 3 0,-2 2 0,4-8-40,2-3-8,0 4 8,1-4 0,0-3-24,-2-3 16,3 0-8,-3-8 8,2 2-24,-3-3 8,4 1-8,-7 0 16,3 0-32,3-5 0,1-5 0,-4 4 0,-4 1-32,4-2 104,0-6-120,0 0 40,-7-6-24,1-1-24,-4-2 0,-1 0 8,5-8-8,1-3 8,0 1 0,-3 1 8,2 2-8,6 3 24,4-1-8,-2-4 8,6 0 0,1-2 16,-2 5 0,4-5 0,0-2 0,1 7 0,1-1 0,-1 6 0,4 1 8,-3 0 48,-1 7 0,1-3 0,1 1 8,-1 5 0,-3 4 8,0 0-8,-1-1 8,-3 2 0,0 1-8,-6-2 8,4 1 16,0 2-32,-3-1 8,-1-3 0,0 11 0,0-1-32,0-2 16,-1-1-16,-7 5 16,0-2-40,4-6 8,-3-1 0,-2 0 8,1 1-32,1-1-8,0 0 8,-1 0 0,-2 0-16,1-2-8,5-1 8,-5 2 8,4-2-32,-1-1 16,5 3-8,-3 2 8,0 0-16,-1-4 0,1-1 8,4 7-8,-3-2 8,3 5 8,-1-6-8,-1 5 16,0 1 32,2 0 8,2-2 8,4 2-8,-1-2 40,0-3-8,-1 1 8,6 3 0,-1 2 24,0-2 0,-4-6 0,7 0 0,1 1 0,1-2 0,-2 0 0,7-2 8,-3 0-24,-1-4 8,2 3-8</inkml:trace>
  <inkml:trace contextRef="#ctx0" brushRef="#br0">10680 103408 17079,'0'0'0,"-13"-5"536,9 9 16,0-2-16,-5 8 16,-1 1 264,5-1 8,0 0 0,-5 9 0,-1 2-480,1-4 8,6-5 0,0 4-8,4-7-192,7-3 16,-2 1-16,10-1 8,-2 0-88,4-3 0,3-2 0</inkml:trace>
  <inkml:trace contextRef="#ctx0" brushRef="#br0">10770 103216 13768,'0'0'0,"-16"-5"0,8 5 584,4 0 8,3 0-8,-6-4 8,5 4 39,2 1 1,0 2 8</inkml:trace>
  <inkml:trace contextRef="#ctx0" brushRef="#br0">11434 102818 13264,'0'0'0,"-24"16"0,12-4 320,-1-2 8,-5 4-8,-2 4 8,-3 5 192,2-2 0,-3 0 0,4 15-1,-5-2-175,7 3 0,1 0 0,-2 5 8,7-6-200,2 0 8,3-2-8,-1 5 8,3-5 40,1-2 8,2 2 0,0 1 0,4-5-8,0-4 8,2 2 0,0-3 0,1-3 0,-1-3 8,1 1-8,3 0 8,1-1-40,1-5-8,-4-1 0,4 1 16,-3-2-88,-1-3 0,0-4 8,0-1 0,3-4-64,-2 0-8,0 0 8</inkml:trace>
  <inkml:trace contextRef="#ctx0" brushRef="#br0">11558 103240 12864,'0'0'0,"-16"-9"0,12 9 320,0 0 0,-1 0 8,1 0 0,-1 0 184,1 0 0,1 2 0,-4 8 8,-1 0-145,2 2 17,2-3-8,-5 15 0,-3 0-200,5 4-8,-2 6 8,-3-2 0,7-7 0,-3 0-8,2-2 0,5-2 16,-2 0-48,3-4 8,3-2-8,2 2 8,-1 2-24,3-8 8,1 1-8,5-1 8,-2-2-24,1-1 0,-3-7 0,4-1 0,2-1-8,-2 0-8,0-3 0,3-8 8,-3 5-32,2-2 8,-2-8 0,2 0 0,-2 2-16,-1 1 0,2-9 0,1 2 8,-2 2 8,-1 3 0,-1-10 0,-1 0 8,-2 3-8,-3 3 0,-1 2 0,2 4 0,-4 5 8,2 1 0,-4 4 0,2 3 0,-1 0-8,2-2 16,-3-1-16,-3 4 8,2 0-8,-1 3 80,-2 6-72,-5 8-24,1-1 8,3 3 0,-12 8 0,3 2 8,4-7 16,-2-4-8,1 2 0,2-2-8,1-3 0,-1 0 0,-4 2 8,3 0 0,4-5-8,0 4 0,2-4 0,0 1 8,0-1 0,3-3 8,1 2-8,0-3-56,1-3 8,5-2-8,0-1 8,0 1-40,-1-3 8,-1-3 0</inkml:trace>
  <inkml:trace contextRef="#ctx0" brushRef="#br0">11940 102790 12864,'0'0'0,"8"-13"0,-7 9 464,-1 2 8,3 0 0,4 4 0,3 2 56,-5-4 8,1 0-8,7 14-1,4 2-191,-1-2 0,-3 2 0,2 6 0,-2 1-136,-1 6 0,-3 1-8,2 9 8,-2 1-56,-1-3 0,-4 4 0,3 1 8,-2 3 64,1-4 8,-4 1 0,3 3 0,-1 0 80,-4-8 8,-8 4-8,3 0 8,-4-4-32,-2-5 8,-1-2 0,-1 2-8,-2-3-48,-1-5-8,-6-1 0,-1 2 8,2-3-72,-1-3 0,-1 1 0,-2-3 16,0-4-72,10-4 16,1-3-8,2-1 8,3-1-40,3-3 8,2-2 88,4 0-176,0-2 0,-1 3 0</inkml:trace>
  <inkml:trace contextRef="#ctx0" brushRef="#br0">12620 102544 11760,'0'0'0,"-15"-13"456,15 14 8,2 7-8,0-3 16,0 1 72,0-2 8,0 0-8,3 18 16,2 7-264,-2 2 0,0 6-1,-1 5 9,0 8-144,-1 0 0,1 11 8,1 8 0,-5 0-32,0-3 0,3 9-8,-3 4 8,1-5 8,2 0 0,-7 8 0,1 2 0,-6-6-16,2-5 8,-7 1-8,-8-2 8,5-3-24,1-3 0,-2 4 8,-5-1-8,5-9 32,1-5 0,-1-5 0,-1 0 8,0-5-8,2-8 0,-3 0 0,-6 3 8,-1-11-48,5-8-8,2-2 0,-3-3 16,2-1-8,5-5 8,0-4-8,2-2 16,5-1-88,3-6 8,6 2-8</inkml:trace>
  <inkml:trace contextRef="#ctx0" brushRef="#br0">6078 103934 12160,'0'0'0,"-16"-7"504,15 7 0,-3-2 0,-1 2-8,1 2 184,2-2 680,-3 4-681,1 3-279,0 1 0,0-4 0,-5 18 0,-4 4-272,2-4 8,2 2 0,-1-2-8,4 1-24,1-5-8,1 3 0,2-3 8,2-6-8,2-1 0,4-1 8,-3-1 0,3-1 8,-3-7-8,5-1 8,1 0 0,1 0-8,-1-4-8,3-1 0,4-8 16,-1-4 24,4-3 8,-3-3-16,0 1 16,0 3 0,-4 5 0,-2-2 0,-1 0 0,1 7-16,-6 1 8,0 6 0,-3-3-8,-1 2 96,0 2-104,-4 2 0,-1 5-16,1-2 8,-2 4-8,-7 21 16,-3 8-32,0-3 8,4-2 8,1-4-8,4-6 16,3-2 8,-3 1 0,5-5 0,-1 1 0,6-3 0,-1-5-8,5-1 8,-6-2-32,2-2 8,2-4-8,6 0 16,-2-1-48,3-2 0,1-1 8</inkml:trace>
</inkml:ink>
</file>

<file path=ppt/ink/ink3.xml><?xml version="1.0" encoding="utf-8"?>
<inkml:ink xmlns:inkml="http://www.w3.org/2003/InkML">
  <inkml:definitions>
    <inkml:context xml:id="ctx0">
      <inkml:inkSource xml:id="inkSrc0">
        <inkml:traceFormat>
          <inkml:channel name="X" type="integer" min="-2.14748E9" max="2.14748E9" units="dev"/>
          <inkml:channel name="Y" type="integer" min="-2.14748E9" max="2.14748E9" units="dev"/>
          <inkml:channel name="F" type="integer" max="32767" units="dev"/>
        </inkml:traceFormat>
        <inkml:channelProperties>
          <inkml:channelProperty channel="X" name="resolution" value="1000" units="1/dev"/>
          <inkml:channelProperty channel="Y" name="resolution" value="1000" units="1/dev"/>
          <inkml:channelProperty channel="F" name="resolution" value="0" units="1/dev"/>
        </inkml:channelProperties>
      </inkml:inkSource>
      <inkml:timestamp xml:id="ts0" timeString="2023-08-23T13:03:09.501"/>
    </inkml:context>
    <inkml:brush xml:id="br0">
      <inkml:brushProperty name="width" value="0.025" units="cm"/>
      <inkml:brushProperty name="height" value="0.025" units="cm"/>
      <inkml:brushProperty name="fitToCurve" value="1"/>
    </inkml:brush>
  </inkml:definitions>
  <inkml:trace contextRef="#ctx0" brushRef="#br0">3508 86690 10152,'0'0'0,"-19"5"0,9-10 368,2 2 0,5 3 0,-1 0 0,4 3 1200,-4-6-776,8 3 1136,-1 0-1361,2-1 9,5-3-256,-3 1 0,1 1 8,19-6-8,5 0-112,-2 1 0,-3 2 0,-1 5 0,6-3-48,-6 2 0,-1-2 0</inkml:trace>
  <inkml:trace contextRef="#ctx0" brushRef="#br0">4208 86064 14064,'0'0'0,"15"-7"0,-4 3 456,4-2 16,1 6-16,2 5 8,-3 0 111,2 9 9,-1-1-8,7 4 8,-2 2-200,-1 3 8,-2 8 0,5 4 0,-2-3-216,-3-3 8,-3 1-8,1 4 16,-6-2-104,-2 0 8,-1 6 0,1 6 0,0-3-40,-4-3 8,-4-3-8,0-1 8,-4-8-8,-4-2 8,0-2-8,-4 1 0,-1 1 0,2-5 8,-5-6-8,-2 3 8,-3-5-16,5 1 16,-6-3 0,0-7 0,2 2-8,3-3 8,-3-3-16,-1-5 16,2 0-16,5 0-8,-1-1 8,2 1 0,6-2-8,3 0 16,2 0-16,-3-5 16,5 5-8,1 4 8,5-3-8,2-3 8,7-4-8,-3-1 0,2 3 0,5-2 8,2 2 24,-2 3 0,-1-1 0,2-6 0,3 7 16,-2 0 8,-3 0-8,1-1 16,-1 2-16,-2 2 0,-1-3 8,-1 2-8,1-2 0,1 5 16,-2-2-16,1-4 16,-1 3-24,1 3 8,-1 3-8</inkml:trace>
  <inkml:trace contextRef="#ctx0" brushRef="#br0">4876 86124 14672,'0'0'936,"3"16"-472,-2-2 7,2 5 201,-3 3 0,1 6 0,-1 5 8,-1 2-320,-2-2 8,2 1 0,-3 2 0,1-3-192,3-5 0,0 3 8,0 3-8,0 0-16,0-8 0,0 0 8,4-1-8,0-7 0,-1-3 0,1-2 0,2-2 8,-4-1 8,0-6 8,-1-1-8,10-6 16,-3-1-16,-4 0 16,3 0-16,15-9 16,3-7-16,-2-5 16,-2-4-16,-3-8 16,-2 6-40,-4 1 0,3-2 0,2-2 8,1 1-24,-3 8 0,1-3 0,-2-1 0,1 4-32,-3 6-8,-4-1 0,1 2 16,-1 1-32,3 5 0,-3-6 0,3-4 0,1 3-8,2 4 0,-3-3 0</inkml:trace>
  <inkml:trace contextRef="#ctx0" brushRef="#br0">4450 86948 192,'0'0'0,"-15"7"0,4-7 0</inkml:trace>
  <inkml:trace contextRef="#ctx0" brushRef="#br0">3896 87002 8536,'0'0'0,"-19"4"0,13-1 1120,5-3-560,2 0 0,2 0 1328,8-3-1264,4 2-264,5-3 0,8 1 0,13-5 0,6 1-216,-2 4 8,4 3 0,9 0 0,-1 0 40,9-4 0,8 0 8,3-3 0,-1 3 24,-2-3-1,14-1 1,2 1 8,-2-1-8,-4 0 0,13 2 0,-1 1 0,-7-6 24,-10 5-8,-1 2 0,2-4 8,-15 4-24,-7 1 8,-3-2 0,-6-4 0,-5 5 0,-10 0 16,0 4-8,-5-4 0,-7 3-40,-5-2 0,-7 6-8,-4-3 8,-2-3-56,-1 3 8,-3-3-8,-4 3 8,-3 0-72,1 0 8,2 0 8,-16 0-8,-8 3-48,2 0 16,-1 2 0</inkml:trace>
  <inkml:trace contextRef="#ctx0" brushRef="#br0">4454 87186 8744,'0'0'0,"-16"-15"0,13 15 536,6 0 8,-3-2 8,1-3-8,-1 2 8,-1 3 0,1 3 552,1-3-752,5 0 0,-5 0 0,16 15-8,11 8-136,0 3 8,-4 2-8,-3 0 8,-3 0 48,-2-2 8,-1 3 0,-3 3 7,1 0 89,1-3 0,1 3 0,-3 3 0,0-4-48,-2-2 16,-6 4-16,3 4 8,-6-7-48,-2 2 0,-6-4 0,-1 4 0,2-3-48,2-9 0,-4-2 0,-3 3 0,1-5-56,2-4 0,0 1 8,-3-7-8,1 0-40,0-2 0,-3-1-8,1-7 8,-2 4-32,3-3-8,-1-1 0,-5-4 8,5 2-40,0-2 8,2-3-16,-2-3 16,1 3-32,5 3 0,-2-2 8,1 0 0,3 0-40,4 2 0,3 4 0,-2-9 8,2 2-16,1 2 0,-2 2 0,6-7 8,-3-2-8,5 1 0,-1 5 0,6-2 0,-1-2 0,-1 4 0,-1-6 0,3 1 0,-1 5 0,-2 2 0,0-7 0,7 5 16,-6 2-8,-1 2 0,0 0 0,5-5 8,-3 1 0,-2 0 16,-1 1-16,4 1 8,-4-4 8,4 4-8,-4 3 0</inkml:trace>
  <inkml:trace contextRef="#ctx0" brushRef="#br0">5054 87166 15376,'0'0'0,"11"-16"0,-10 12 384,2-1 8,-3 10-1,1-5 1,-1-5 1216,0 19-1072,0 8-136,0 4 0,-4 3 8,3 12-8,-7-4-168,1-2 8,-4-2-8,1 2 8,-2-4-64,4-5 8,1 6-8,3 1 16,2-5 40,0 0 8,-1-1 8,3 7-8,-3-8 88,3-2 8,-1-2 0,2 2 0,7-3-32,-2-9 16,5 3-8,1-1 0,1-3-40,-1-7-8,3 2 8,0-2 8,-1-2-80,-1-2-8,5-6 8,1 4 0,-2-6-112,-5 0 0,3-7 0,-3 2 8,1-3-80,-3 2 0,-2-6 0,4-1 16,-1 0-64,-3 5 8,2-3 0</inkml:trace>
  <inkml:trace contextRef="#ctx0" brushRef="#br0">4904 87388 15272,'0'0'0,"-15"3"0,9 2 360,2-5 743,4 3 593,4-2-1120,1 4-208,-1-3 368,16-2-368,12 0-160,-1-2 8,1-3 0,-1 1 0,-5-4-56,-3 0 8,4 0 8,-3 4-8,-3-1-16,-2 0 0,-7-2 0,2 3 16,-2-3-120,-3 3 16,-1 0-8</inkml:trace>
  <inkml:trace contextRef="#ctx0" brushRef="#br0">6678 86750 9144,'0'0'0,"-16"7"288,13-7 288,0 1-280,0 3 176,3-1 480,3-6-472,-2 2-168,-1-2 8,2 3 8,10 0-8,7-1-32,3-5 0,2 2 0,7-4 8,-5 4-8,-1-2 8,-2 2-8,2 3 8,-1-2-8,-2-4 0,1 6-1,-5 1-7,3-3 8,-6 3 8,1-4-8,1 4 8,-2-1-40,-4 1-8,0-4 8,1 5 0,-2-2-40,-2-2 8,-1 1-8,-2 2 8,5 0-112,-5-4 104</inkml:trace>
  <inkml:trace contextRef="#ctx0" brushRef="#br0">6960 86542 13168,'0'0'1128,"-16"22"-752,13-12-8,2-5 0,-4 6 0,1 11 0,-1-1-65,1-1 9,-3 1-8,0 4 0,3-2-88,0-5 8,-2 6 0,2 4 0,-1-2-16,-1-6 8,2 3 0,3 2 0,-3-7 24,4 0 8,-3-2 8,-1-1-8,0 0 24,4-6 0,-2-3-8,-2 1 16,3 0-40,1-3 1072</inkml:trace>
  <inkml:trace contextRef="#ctx0" brushRef="#br0">8670 86260 11760,'0'0'424,"26"-15"-208,-11 18 0,-3 5 360,-5-1 0,-3-2 0,-2 20 0,-2 11-104,-6-3 8,-6 3-8,2 22-1,4-4-167,-6 0-8,0 4 0,-4 3 8,4-10-168,0-9-8,0-5 8,-5-4 8,3 0 0,2-1 0,-2-4 0,-1 5 8,-3-8 0,10-8 0,1 6 0,-4-2 0,10-7-8,-2-6 0,3 0 0,7-5 8,1-3 24,-7 0 0,0 0-8,11 0 16,1 0-8,-2 0 8,-6 0-8,27-7 8,16-10 40,-5 0 0,-6 4 0,-5-1 0,-6 5 24,1-4 16,-1 0-16,5 1 16,-10 5 8,-6 2-8,-12-2 8,1-2 8,3 4-48,-6 5 0,-2 0 0,5 0 0,1 2-48,-1 5-8,2-6 8,11 3 0,8 0-48,-3 4 0,-2-1 0</inkml:trace>
  <inkml:trace contextRef="#ctx0" brushRef="#br0">9664 86630 11856,'0'0'0,"-30"-4"0,22 4 768,1 0 16,7 5 0,7-2-8,-5-3 88,1 0 863,0 0-863,2 0-416,0 0 8,0 0-8,21 0 8,17 0-200,4 0 16,-4 0-8,1-8 0,-8 1-80,-7 1-8,1-3 8,6-5 0,2 6-64,-14 3 8,-12-2-16,12-4 16,1 1 16,-3 8 0,-4-2 0</inkml:trace>
  <inkml:trace contextRef="#ctx0" brushRef="#br0">9934 86438 13056,'-5'3'0,"-12"6"0,2-2 0,3 7 504,1 10 0,5-2 0,-2-3 0,0-6 248,1 6 7,-2 3 9,4 10-8,-4-4-416,1-3 0,2 3 0,5-14 8,0-1-176,1-1 16,2-8-16,4 8 16,-6 1-40,4-5 0,0 2 0,5-5 0,-1 0-16,-2-2 8,-2 2 0,2 0 0,0 3-16,4-2-8,-5-2 8</inkml:trace>
  <inkml:trace contextRef="#ctx0" brushRef="#br0">11900 85924 8744,'0'0'0,"-11"-28"0,14-1 0,4 4 336,-7 8 16,-7-2 0,15 7-8,0 8-24,-4 4-8,-1 0 0,1 0 8,-3 0 1000,1 14-872,2 7-184,-4-3 8,-4 2 0,8 57 0,0 17-56,-8-11 8,3-9-8,-2-8 8,0-6 40,-8-6 8,3 8-8,-3 4 8,6 1-1,4-7 1,-4 5 8,-1 1 0,4-11-56,-4-16 8,1 6 0,-3 2 8,3-6-40,3-7 16,2 2-8,-5-11 8,5-5-40,3 1 8,-6-1-8,3-2 16,3-7-32,-3-8 0,-4 3 8,4-3 0,1-2-16,-1 2 0,-1-3 0,-7-3 0,5 2-8,3-2 152,-4-11-144,0-5-16,0-2 0,-2 2 0,-1-19 0,-2-6-32,4-3 16,3 2-16,0 1 16,4 6-24,0 9 0,-2-8 8,4-12-8,2 4-16,1 5 8,5-2 8,-2-9-8,2 13-16,5 9 0,-3 0 0,11 6 8,0 2 8,-7 7 0,-10-4 8,17 5-8,2 1 8,-2 7 16,-4-4-8,-6 9 0,-5 0 0,-3-2-8,0 4 8,-1 8-8,1-6-16,-7-1 0,-8-3 0,9 9 8,6-2-24,-3-2 8,-12-4 0,5 18 0,3 1-24,-2-2 8,-17 1-16,7 7 16,7 5-24,-3-10 8,-20 5-8,11 1 16,8 1-24,1-10 8,-2 2-8,-5-7 16,0-4-16,4-2 0,6 0 8,-1 3 0,-5-3-16,11-2 16,0-4-16,0 6 8,0-2 8,0-3 16,0 2-8,0 2 8,0-3-8,4 0 8,4 3-8,2 6 16,1-5 8,-3-2 0,9 2 0,-2 4 0,-3 3 0,-2-10 0,2 4 8,5-2 24,-5 0-8,-5-6 0,1 1 0,1 4 16,-4-1 88,-2-3-88,4 5-48,-2-4 8,-1 2 0</inkml:trace>
  <inkml:trace contextRef="#ctx0" brushRef="#br0">12518 86694 16575,'0'0'0,"-38"29"696,19-13 0,11 1 0,-9 15 0,4-6 152,0-3-8,-2-3 8,2 9 0,5-5-624,9-11 8,6 3 8,6 2-8,-2-5-184,-4-9 8,8-4 0,21-6 0,7-5-48,0-5 0,2-5 0</inkml:trace>
  <inkml:trace contextRef="#ctx0" brushRef="#br0">12552 86230 11952,'0'0'0,"-24"5"472,22-1 0,-2-2 8,-2-1 840</inkml:trace>
  <inkml:trace contextRef="#ctx0" brushRef="#br0">13566 86210 992,'0'0'0,"-11"-34"0,11 22 688,6-2 8,4-4-8,0-7 8,0 5 16,3 4 16,5 4 0,5 0 0,-3 10 216,-4-2 8,-3-2-8,10 6 8,-3 0-320,-4 4 8,-3 4 0,-3 23 8,9 4-336,-5 6 8,-7 7 0,9-4 0,-2-7 8,-7 0 16,-10 16-8,3 9 0,0-11-40,-4-11 8,-3 1 7,-5 7-7,1-11-40,4-1 8,-3 2 0,-2 3-8,3-12-16,2 1-8,0-2 0,-7-3 16,1-5-32,5-4 8,-4-3 0,1-1 0,-1-2-72,2-10 16,-2 3-16,-8-6 8,0 3-72,6-3 0,-2-2 0,-7-7 8,-1-3-48,7 1 8,4 0 0,1-9 0,4 4-16,4 2-8,-1 8 8,2-3-8,3-3 16,0 7 8,0 4 0,6-9 0,-2-6 16,3 5 0,1 2 0,11 1 8,-1-1-8,-4-5 0,-4 4 8,19 0 0,0-2 40,-7 2-8,0 1 8,-5 3 8,-5 1 0,0 4-8,-4-1 8,12-5 0,-4 2 0,-6-2 8,5 7 0</inkml:trace>
  <inkml:trace contextRef="#ctx0" brushRef="#br0">14158 86206 12360,'0'0'4151,"-13"36"-3479,10 3-248,0-2 0,1 11 0,-6 4-8,1-6-240,2-9 0,-3 3 0,-3 3 0,6-2-72,0-5 16,5-2-8,7-3 0,-5 1 48,-1-10 8,7-1-8,-2-3 0,-1-5 16,2-11 8,3-2-8,-2 8 16,-1-5 0,1-3 8,-7-3 0,10-11 8,7 1-24,-2 5 16,4-4 0,1-21-8,3-11-48,-2-1 8,-1 4-8,1 8 8,-3 1-24,1 6 8,0-1 0,-7 6 0,1-1-24,-2 0 16,6 1-16,-7 3 16,-2 5 8,-5 7 0,1-6 0,12 2 8,-1 0-24,-10 4 8,-14 2 0,13 4 8,1 0 104,-12 0-112,12 0-8,-3 0 0,-6 0-64</inkml:trace>
  <inkml:trace contextRef="#ctx0" brushRef="#br0">13248 87214 13264,'0'0'0,"-40"5"0,22-3 392,3 0 16,9-2-8,4 0 1847,5 0-1631,2 0-256,1 0 376,21 0-368,20-4-112,10-6 0,9 2 8,9-3-8,-4-1-40,0-1 8,1 2 0,4-3 8,-6 1 64,-3 2 8,17-1-8,2-10 8,-8 6-8,-7-4 0,-3 0 0,-1 7 0,-6-3-32,-15 7-8,-6 5 8,-4-3-8,-9 6-48,-5 1 0,5-3 0,-7-1 8,-7 2-56,-2 2 8,-2 5-8,-1-4 16,-2-1-120,-6 3 16,0 2-8</inkml:trace>
  <inkml:trace contextRef="#ctx0" brushRef="#br0">13666 87454 13360,'0'0'0,"-3"-29"0,3 8 808,3 5 16,0 4-16,1 7 7,1-1-175,-1 4 16,-4 0-8,6 0 8,1-4-232,1 6 8,0 0-16,11 15 16,4 5-232,-2 0 8,-3 1 0,16 9-8,-2 6-80,-3-3 8,-9 0-8,-7 0 8,2 2-8,-8-6 0,4 1 0,-10 2 8,3-7-40,-1-2 0,-6 3 0,-1 2 16,-1-7-32,-2-1 0,1-4 0,-10 6 8,4-10-16,4-4 0,2-1-8,-8 5 8,6-5-8,4-3 0,-1-4-8,0 0 8,-2 0-16,-3 0 0,8 0 8,-2 0-8,-2-2 8,4 0 0,1-2-8,-6 1 8,2 3-16,1-4 8,-1-2-8,0 0 16,1-4-24,0 4 8,0 0-8,4 4 16,-3-9-24,2 5 8,1 0 8,1-4-8,-1-3-16,0 1 8,3 0 8,9-2-8,2-3-8,-1-1 0,-2 1 0,9 2 0,0-1-8,-3 7 0,1 1 0</inkml:trace>
  <inkml:trace contextRef="#ctx0" brushRef="#br0">14104 87562 13864,'0'0'0,"0"-9"0,3-1 288,-1 8 8,1 1-8,6-5 8,-2 4 216,-1-1 0,-6 2-1,0-5 9,6 6-176,-4 0 352,4 6-344,-2-2-192,2 0 16,-3 1-16,6 9 8,2 2 16,-5 3 0,-2-7 0,-5 12 0,-2-1 0,-3-5-8,0-3 0,0 1 8,-6 1-32,0-10 0,1-2 0,-6 6 0,-3 1-8,5-3 8,1-4 0,4 7 0,7-5-32,-1-2 8,3-2-16,-5-3 184,6-3-232,7 2-64,-3-3 16</inkml:trace>
  <inkml:trace contextRef="#ctx0" brushRef="#br0">14398 87426 12456,'0'0'2688,"-30"40"-2224,18-16-232,-2 2 8,0-1 8,-9 15-9,10-2-71,4-13 8,4-2-8,5-7 8,0-3 8,0-4-8,0-5 8,0 8 0,5-5 40,-1-1 0,-3-6 8,15 10-8,-3-4 24,5-1 16,-7-10-8,11 1 8,-4 2-8,2-4 8,-6-3-8</inkml:trace>
  <inkml:trace contextRef="#ctx0" brushRef="#br0">14624 87534 13768,'0'0'392,"-25"36"16,14-18-8,1 3 8,6-2 96,1-5 0,3 1-9,0 4 9,0-1 16,0-9 8,3-1 0,1 2 0,2-4-296,4-1 8,-4-1-8,14-4 16,3-4-88,2-2 0,2 1 0</inkml:trace>
  <inkml:trace contextRef="#ctx0" brushRef="#br0">14718 87142 16072,'0'0'0,"-30"5"423,24-6 1,6-3 0,-2 8 0,-2 3 192,-3-3 0,7-2 8,5-2-8,-3 0-320,0 0 8,0 0 0</inkml:trace>
  <inkml:trace contextRef="#ctx0" brushRef="#br0">15996 86558 14872,'0'0'0,"38"-9"0,-5 5 248,-2 0 16,5 2-8,7-1 8,-2 3 248,-9-3 7,0 0-7,10 6 8,-5 0-232,-4-3 8,-2 0-8,4 5 8,-8-1-176,-2-2 0,4 0 0,-6 10 8,-12-2-80,3-3 8,4 3 0</inkml:trace>
  <inkml:trace contextRef="#ctx0" brushRef="#br0">16004 86842 15176,'0'0'504,"34"-11"-256,-15 7 16,1 3 175,-2-3 9,5 4 0,12 4 0,5-4-96,1-4 0,0 4 0,-5 0 0,-10 0-184,-3 0-8,-3 0 0,6 0 0,-3 0-24,-6 0 8,1 0-8,5 4 8,-3-3 16,-4-1 0,-3 4 0</inkml:trace>
  <inkml:trace contextRef="#ctx0" brushRef="#br0">17776 86480 8536,'0'0'0,"-34"-5"744,26 2 0,-2 3 0,-4-1 8,3-5 104,3 5 8,0 1-8,-13 7 8,-13-2-512,5 6 0,1 1-8,-20 9 8,7 1-57,3-2 9,0 8 8,-1 8-8,9-10-72,6 2 8,1 5 8,10 3-8,1-5 96,10-3 8,-2-1 0,8 0 8,4 0-24,5-1 8,4-5-8,14-2 8,-1-2-64,2-8 8,7-2 0,4-14 0,0 2 0,0-2 0,6-8 8,-3-9 0,-5 0-64,-8-2 16,1-5-8,-7 1 0,-3 2-24,-7 7-8,-5-6 8,-6 2 8,0-1-56,-6-1 16,0-3-16,-4 6 8,-4 3-32,-3 5 8,-1-3 0,-4 1 0,-3 5-40,4 2 16,-1 3 0,2 3-8,-12 4-8,8 1-8,2 0 0,-8 2 16,-1 3-48,3 2 8,-2 0 0,0 10-8,9 1-32,11 0 0,4-1 0</inkml:trace>
  <inkml:trace contextRef="#ctx0" brushRef="#br0">18542 86814 8032,'0'0'0,"-25"13"0,24-18 1064,1 9-520,1 1-8,3-2 1440,-9-3-992,6 0 16,3 0 8,-3 0-8,2 0 7,-6 0 1,-2 0-408,1 0 0,1 0 0,-3 4 0,-6 2-128,1-2 0,5-4 8</inkml:trace>
  <inkml:trace contextRef="#ctx0" brushRef="#br0">3528 88726 13184,'37'9'80,"60"19"144,-2 0 0,-3-8 0,9-14 0,-2-2-32,11-4-8,14 0 8,22-2 0,7 0-144,3-3 16,23-4-8,30-3 8,-1-1-48,6-1 8,37 1 8,17-11-8,3 7 16,-11-1 0,25-1 8,13 1-8,6-4 16,-14-1 0,19-3 0,26 9 0,-15-1 16,-17-2 0,32-5 0,23 6 16,-30 2 16,-22-3 0,32-1 8,2 0-8,-7 4 15,-25 2 9,30-3-8,18-2 8,-29 1 24,-20 3 8,25 0 8,8-10-8,-22 7-8,-34 1 8,22 1-8,-1 1 8,-13-1-8,-34 3 0,14 3 8,20-4 0,-33 2-16,-29 2 8,10 1 0,-14-2 0,-21 4-16,-18 1 0,5 5-8,-5-8 8,-30 6 0,-17 2 0,-3-1 0,-8-4 8,-25-1-24,-22 7 8,-6-2 0,-1-6 0,-15 4-40,-14 5 8,-1 0 0,-13 0 8,-10 5-48,-7-3 0,-9-2 8,-6-2 0,-2 2 24,2-5-40,-4 5 0,-3 5-32,4-3 24,-6-2-8,-5 0-24,-4 0 0,5 0 0,-23-7 0,-9 7-8,6-4 0,3-7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de-DE" dirty="0"/>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de-DE" smtClean="0"/>
              <a:pPr>
                <a:defRPr/>
              </a:pPr>
              <a:t>25.08.2023</a:t>
            </a:fld>
            <a:endParaRPr lang="de-DE" dirty="0"/>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de-DE" dirty="0"/>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de-DE" smtClean="0"/>
              <a:pPr>
                <a:defRPr/>
              </a:pPr>
              <a:t>‹#›</a:t>
            </a:fld>
            <a:endParaRPr lang="de-DE" dirty="0"/>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0025" y="500063"/>
            <a:ext cx="4445000" cy="2500312"/>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de-DE" smtClean="0"/>
              <a:pPr>
                <a:defRPr/>
              </a:pPr>
              <a:t>1</a:t>
            </a:fld>
            <a:endParaRPr lang="de-DE" dirty="0"/>
          </a:p>
        </p:txBody>
      </p:sp>
    </p:spTree>
    <p:extLst>
      <p:ext uri="{BB962C8B-B14F-4D97-AF65-F5344CB8AC3E}">
        <p14:creationId xmlns:p14="http://schemas.microsoft.com/office/powerpoint/2010/main" val="4015877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Results:</a:t>
            </a: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Here, I tested a 1D path between x = 0 and x = 0.5. The initial value depends on the sum of polynomials, so cannot be set, and makes the result wavy, and unusable. It also doesn’t respect max velocity.</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10</a:t>
            </a:fld>
            <a:endParaRPr lang="de-DE" dirty="0"/>
          </a:p>
        </p:txBody>
      </p:sp>
    </p:spTree>
    <p:extLst>
      <p:ext uri="{BB962C8B-B14F-4D97-AF65-F5344CB8AC3E}">
        <p14:creationId xmlns:p14="http://schemas.microsoft.com/office/powerpoint/2010/main" val="3806663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Finally I’ll talk about reinforcement learning, which had some success.</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11</a:t>
            </a:fld>
            <a:endParaRPr lang="de-DE" dirty="0"/>
          </a:p>
        </p:txBody>
      </p:sp>
    </p:spTree>
    <p:extLst>
      <p:ext uri="{BB962C8B-B14F-4D97-AF65-F5344CB8AC3E}">
        <p14:creationId xmlns:p14="http://schemas.microsoft.com/office/powerpoint/2010/main" val="18358310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Reinforcement Learning:</a:t>
            </a: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Reinforcement Learning is very flexible – you define a reward in an environment, which the algorithm randomly explores, and over time learns the best actions.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e environment can be anything. In our case, it is a 2D plane in continuous space, with our dynamics model to convert inputs to outputs.</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Next is the algorithm which trains the agent – this is worth exploring more to see which is the best, but I ended up using A2C.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Inside the algorithm, you need to define neural networks, which learn the actions to maximise reward. I used a recurrent neural network, or RNN – this has memory of previous inputs, which is needed to learn an integral, and is defined by batch size.</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e most difficult part to get right is the reward. After each cycle, the agent looks at the rewards for each action, and learns how to improve.</a:t>
            </a:r>
          </a:p>
          <a:p>
            <a:pPr marL="342900" lvl="0" indent="-342900">
              <a:lnSpc>
                <a:spcPct val="107000"/>
              </a:lnSpc>
              <a:spcAft>
                <a:spcPts val="800"/>
              </a:spcAft>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is doesn’t work unless the reward is well defined, has consistent rewards every step and are the same scale. And even then it can fail due to random chance – in theory, multiplying rewards by a constant, or shifting them shouldn’t do anything, but it practice it does.</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12</a:t>
            </a:fld>
            <a:endParaRPr lang="de-DE" dirty="0"/>
          </a:p>
        </p:txBody>
      </p:sp>
    </p:spTree>
    <p:extLst>
      <p:ext uri="{BB962C8B-B14F-4D97-AF65-F5344CB8AC3E}">
        <p14:creationId xmlns:p14="http://schemas.microsoft.com/office/powerpoint/2010/main" val="2508889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Reward functions</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First I tested just making the agent reach the goal, and the reward was negative distance from the target. This completely failed, probably because of different scale of the rewards. </a:t>
            </a:r>
          </a:p>
          <a:p>
            <a:pPr marL="342900" lvl="0" indent="-342900">
              <a:lnSpc>
                <a:spcPct val="107000"/>
              </a:lnSpc>
              <a:spcAft>
                <a:spcPts val="800"/>
              </a:spcAft>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Instead, change in distance from the target worked, combined with an end state reward.</a:t>
            </a:r>
          </a:p>
          <a:p>
            <a:r>
              <a:rPr lang="en-GB" sz="1800" dirty="0">
                <a:effectLst/>
                <a:latin typeface="Calibri" panose="020F0502020204030204" pitchFamily="34" charset="0"/>
                <a:ea typeface="Calibri" panose="020F0502020204030204" pitchFamily="34" charset="0"/>
                <a:cs typeface="Times New Roman" panose="02020603050405020304" pitchFamily="18" charset="0"/>
              </a:rPr>
              <a:t>This didn’t really optimise for least time though. And it also can’t work with arbitrary paths. </a:t>
            </a:r>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13</a:t>
            </a:fld>
            <a:endParaRPr lang="de-DE" dirty="0"/>
          </a:p>
        </p:txBody>
      </p:sp>
    </p:spTree>
    <p:extLst>
      <p:ext uri="{BB962C8B-B14F-4D97-AF65-F5344CB8AC3E}">
        <p14:creationId xmlns:p14="http://schemas.microsoft.com/office/powerpoint/2010/main" val="39045239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erefore I made a more flexible reward function. You input a function form y = f(x). The value is found by looking at the inverse of y away from the path.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At start and end points, use total distance instead.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Finally, slope the function in the direction of travel.</a:t>
            </a:r>
          </a:p>
          <a:p>
            <a:pPr marL="342900" lvl="0" indent="-342900">
              <a:lnSpc>
                <a:spcPct val="107000"/>
              </a:lnSpc>
              <a:spcAft>
                <a:spcPts val="800"/>
              </a:spcAft>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As before, reward is change in this value.</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14</a:t>
            </a:fld>
            <a:endParaRPr lang="de-DE" dirty="0"/>
          </a:p>
        </p:txBody>
      </p:sp>
    </p:spTree>
    <p:extLst>
      <p:ext uri="{BB962C8B-B14F-4D97-AF65-F5344CB8AC3E}">
        <p14:creationId xmlns:p14="http://schemas.microsoft.com/office/powerpoint/2010/main" val="21854674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Straight line tests:</a:t>
            </a: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o optimise for time, I added 1/(1 + </a:t>
            </a:r>
            <a:r>
              <a:rPr lang="en-GB" sz="1800" kern="100" dirty="0" err="1">
                <a:effectLst/>
                <a:latin typeface="Calibri" panose="020F0502020204030204" pitchFamily="34" charset="0"/>
                <a:ea typeface="Calibri" panose="020F0502020204030204" pitchFamily="34" charset="0"/>
                <a:cs typeface="Times New Roman" panose="02020603050405020304" pitchFamily="18" charset="0"/>
              </a:rPr>
              <a:t>final_time</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 to the reward end state reward,  which was effective. Testing on a path between 0 and 0.5, with speed limited at 0.1, it succeeded 82% of the time.</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e fastest possible time was 5.1, and all successful results were very close, at 5.3 or below, showing this has success.</a:t>
            </a:r>
          </a:p>
          <a:p>
            <a:pPr marL="342900" lvl="0" indent="-342900">
              <a:lnSpc>
                <a:spcPct val="107000"/>
              </a:lnSpc>
              <a:spcAft>
                <a:spcPts val="800"/>
              </a:spcAft>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o make this work, I optimised parameters using </a:t>
            </a:r>
            <a:r>
              <a:rPr lang="en-GB" sz="1800" kern="100" dirty="0" err="1">
                <a:effectLst/>
                <a:latin typeface="Calibri" panose="020F0502020204030204" pitchFamily="34" charset="0"/>
                <a:ea typeface="Calibri" panose="020F0502020204030204" pitchFamily="34" charset="0"/>
                <a:cs typeface="Times New Roman" panose="02020603050405020304" pitchFamily="18" charset="0"/>
              </a:rPr>
              <a:t>Optuna</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 which will probably be needed for each path. </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15</a:t>
            </a:fld>
            <a:endParaRPr lang="de-DE" dirty="0"/>
          </a:p>
        </p:txBody>
      </p:sp>
    </p:spTree>
    <p:extLst>
      <p:ext uri="{BB962C8B-B14F-4D97-AF65-F5344CB8AC3E}">
        <p14:creationId xmlns:p14="http://schemas.microsoft.com/office/powerpoint/2010/main" val="5575335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Future Steps:</a:t>
            </a: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3 things are required to research. The first is more paths – we need more than a straight line. The more complex the path, especially if it accelerates, the harder it is to reach the goal – we probably need pretraining.</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We could also give the environment more flexibility e.g. turning the laser on/off.</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Secondly, we need to make it closed loop – dynamics randomisation is a method to do it in reinforcement learning, but the success rate will probably never be high enough to trust – 70% is seen as a good result in reinforcement learning.</a:t>
            </a:r>
          </a:p>
          <a:p>
            <a:pPr marL="342900" lvl="0" indent="-342900">
              <a:lnSpc>
                <a:spcPct val="107000"/>
              </a:lnSpc>
              <a:spcAft>
                <a:spcPts val="800"/>
              </a:spcAft>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Instead, use to generate slightly randomised training data for supervised learning.</a:t>
            </a:r>
          </a:p>
          <a:p>
            <a:pPr marL="228600">
              <a:lnSpc>
                <a:spcPct val="107000"/>
              </a:lnSpc>
              <a:spcAft>
                <a:spcPts val="800"/>
              </a:spcAft>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Finally, we can tune more to improve performance, by making </a:t>
            </a:r>
            <a:r>
              <a:rPr lang="en-GB" sz="1800" kern="100" dirty="0" err="1">
                <a:effectLst/>
                <a:latin typeface="Calibri" panose="020F0502020204030204" pitchFamily="34" charset="0"/>
                <a:ea typeface="Calibri" panose="020F0502020204030204" pitchFamily="34" charset="0"/>
                <a:cs typeface="Times New Roman" panose="02020603050405020304" pitchFamily="18" charset="0"/>
              </a:rPr>
              <a:t>optuna</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 multithreaded, or using more complicated RL algorithms.</a:t>
            </a:r>
          </a:p>
          <a:p>
            <a:pPr>
              <a:lnSpc>
                <a:spcPct val="107000"/>
              </a:lnSpc>
              <a:spcAft>
                <a:spcPts val="800"/>
              </a:spcAft>
            </a:pPr>
            <a:r>
              <a:rPr lang="en-GB" sz="1800" kern="100">
                <a:effectLst/>
                <a:latin typeface="Calibri" panose="020F0502020204030204" pitchFamily="34" charset="0"/>
                <a:ea typeface="Calibri" panose="020F0502020204030204" pitchFamily="34" charset="0"/>
                <a:cs typeface="Times New Roman" panose="02020603050405020304" pitchFamily="18" charset="0"/>
              </a:rPr>
              <a:t>Thanks for listening.  </a:t>
            </a:r>
          </a:p>
          <a:p>
            <a:endParaRPr lang="en-GB"/>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16</a:t>
            </a:fld>
            <a:endParaRPr lang="de-DE" dirty="0"/>
          </a:p>
        </p:txBody>
      </p:sp>
    </p:spTree>
    <p:extLst>
      <p:ext uri="{BB962C8B-B14F-4D97-AF65-F5344CB8AC3E}">
        <p14:creationId xmlns:p14="http://schemas.microsoft.com/office/powerpoint/2010/main" val="828195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First we’ll go through the background, then we’ll look at methods I tried – only reinforcement </a:t>
            </a:r>
            <a:r>
              <a:rPr lang="en-GB" sz="1800" kern="100" dirty="0" err="1">
                <a:effectLst/>
                <a:latin typeface="Calibri" panose="020F0502020204030204" pitchFamily="34" charset="0"/>
                <a:ea typeface="Calibri" panose="020F0502020204030204" pitchFamily="34" charset="0"/>
                <a:cs typeface="Times New Roman" panose="02020603050405020304" pitchFamily="18" charset="0"/>
              </a:rPr>
              <a:t>learningworked</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2</a:t>
            </a:fld>
            <a:endParaRPr lang="de-DE" dirty="0"/>
          </a:p>
        </p:txBody>
      </p:sp>
    </p:spTree>
    <p:extLst>
      <p:ext uri="{BB962C8B-B14F-4D97-AF65-F5344CB8AC3E}">
        <p14:creationId xmlns:p14="http://schemas.microsoft.com/office/powerpoint/2010/main" val="31906265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What is trajectory planning, and why do we need it?</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My supervisor has been looking at galvanometer scanners – 2 mirrors attached to motors, deflect laser beams in 2D space</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Used for variety of laser based manufacturing processes</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o function, they need a trajectory input, which should cover a path.</a:t>
            </a:r>
          </a:p>
          <a:p>
            <a:pPr marL="342900" lvl="0" indent="-342900">
              <a:lnSpc>
                <a:spcPct val="107000"/>
              </a:lnSpc>
              <a:buFont typeface="Symbol" panose="05050102010706020507" pitchFamily="18" charset="2"/>
              <a:buChar char=""/>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A path is not a trajectory!!!</a:t>
            </a: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Path = underordered list of position e.g. square – doesn’t tell you how the laser beam should cover the square.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rajectory = list of positions with times.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Goal = convert paths to optimal trajectories.</a:t>
            </a:r>
          </a:p>
          <a:p>
            <a:pPr marL="342900" lvl="0" indent="-342900">
              <a:lnSpc>
                <a:spcPct val="107000"/>
              </a:lnSpc>
              <a:spcAft>
                <a:spcPts val="800"/>
              </a:spcAft>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Improve productivity.</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3</a:t>
            </a:fld>
            <a:endParaRPr lang="de-DE" dirty="0"/>
          </a:p>
        </p:txBody>
      </p:sp>
    </p:spTree>
    <p:extLst>
      <p:ext uri="{BB962C8B-B14F-4D97-AF65-F5344CB8AC3E}">
        <p14:creationId xmlns:p14="http://schemas.microsoft.com/office/powerpoint/2010/main" val="2245430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Next slide: Background II</a:t>
            </a: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Why do we need to develop something new? First let’s look at current technology.</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Normally, trajectories are calculated manually – not optimal e.g. hard to tell if you have the fastest trajectories.</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Open loop trajectories – cannot react to live info/fix random errors.</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Fed through PID controller, corrects errors, closed loop – even if the initial trajectory was optimal, probably not after this. </a:t>
            </a:r>
          </a:p>
          <a:p>
            <a:pPr marL="342900" lvl="0" indent="-342900">
              <a:lnSpc>
                <a:spcPct val="107000"/>
              </a:lnSpc>
              <a:buFont typeface="Symbol" panose="05050102010706020507" pitchFamily="18" charset="2"/>
              <a:buChar char=""/>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Previously this wasn’t a big problem. </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However, lasers up power, down price.</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Before, calculating the fastest trajectory wasn’t very useful, as laser was bottleneck. Now </a:t>
            </a:r>
            <a:r>
              <a:rPr lang="en-GB" sz="1800" kern="100" dirty="0" err="1">
                <a:effectLst/>
                <a:latin typeface="Calibri" panose="020F0502020204030204" pitchFamily="34" charset="0"/>
                <a:ea typeface="Calibri" panose="020F0502020204030204" pitchFamily="34" charset="0"/>
                <a:cs typeface="Times New Roman" panose="02020603050405020304" pitchFamily="18" charset="0"/>
              </a:rPr>
              <a:t>trajecgtory</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 is – the goal for this project is to find and algorithm to make the fastest trajectories. </a:t>
            </a:r>
          </a:p>
          <a:p>
            <a:pPr marL="342900" lvl="0" indent="-342900">
              <a:lnSpc>
                <a:spcPct val="107000"/>
              </a:lnSpc>
              <a:spcAft>
                <a:spcPts val="800"/>
              </a:spcAft>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See an example in figure 2. Black line is path, green line is one trajectory, blue line is another trajectory.</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4</a:t>
            </a:fld>
            <a:endParaRPr lang="de-DE" dirty="0"/>
          </a:p>
        </p:txBody>
      </p:sp>
    </p:spTree>
    <p:extLst>
      <p:ext uri="{BB962C8B-B14F-4D97-AF65-F5344CB8AC3E}">
        <p14:creationId xmlns:p14="http://schemas.microsoft.com/office/powerpoint/2010/main" val="1852063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Requirements:</a:t>
            </a: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What does our algorithm need to do?</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Firstly, has to use the dynamics model, which predicts the relationship between inputs trajectories and output trajectories.</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Secondly, needs to find the fastest trajectory, with error constraints of path. Larger errors = rounder corners, much faster.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Need very fast computation – required for closed loop trajectories reacting to live data, to find new optimal trajectories.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erefore decided we needed a neural network approach – approximate complex functions quickly, very flexible.</a:t>
            </a:r>
          </a:p>
          <a:p>
            <a:pPr marL="342900" lvl="0" indent="-342900">
              <a:lnSpc>
                <a:spcPct val="107000"/>
              </a:lnSpc>
              <a:spcAft>
                <a:spcPts val="800"/>
              </a:spcAft>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Still need to calculate optimal trajectories to feed into neural network as training data. Create open loop optimal trajectories, a lot easier than closed loop. </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5</a:t>
            </a:fld>
            <a:endParaRPr lang="de-DE" dirty="0"/>
          </a:p>
        </p:txBody>
      </p:sp>
    </p:spTree>
    <p:extLst>
      <p:ext uri="{BB962C8B-B14F-4D97-AF65-F5344CB8AC3E}">
        <p14:creationId xmlns:p14="http://schemas.microsoft.com/office/powerpoint/2010/main" val="961813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Dynamics Model:</a:t>
            </a: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What is the dynamics model I talked about?</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e existing model is a transfer function in the frequency domain, as is traditional for PID controllers. To get the output in the frequency domain, multiply the input by the transfer function. Then, inverse </a:t>
            </a:r>
            <a:r>
              <a:rPr lang="en-GB" sz="1800" kern="100" dirty="0" err="1">
                <a:effectLst/>
                <a:latin typeface="Calibri" panose="020F0502020204030204" pitchFamily="34" charset="0"/>
                <a:ea typeface="Calibri" panose="020F0502020204030204" pitchFamily="34" charset="0"/>
                <a:cs typeface="Times New Roman" panose="02020603050405020304" pitchFamily="18" charset="0"/>
              </a:rPr>
              <a:t>laplace</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 transform into time domain.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However, this has multiple problems. Firstly, inverse </a:t>
            </a:r>
            <a:r>
              <a:rPr lang="en-GB" sz="1800" kern="100" dirty="0" err="1">
                <a:effectLst/>
                <a:latin typeface="Calibri" panose="020F0502020204030204" pitchFamily="34" charset="0"/>
                <a:ea typeface="Calibri" panose="020F0502020204030204" pitchFamily="34" charset="0"/>
                <a:cs typeface="Times New Roman" panose="02020603050405020304" pitchFamily="18" charset="0"/>
              </a:rPr>
              <a:t>laplace</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 transforms are computationally expensive, and can be hard to ensure are stable.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Secondly, cannot distinguish between acceleration constant velocity in frequency domain</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erefore, use we can use the convolution theorem to convert the multiplication in frequency into a convolution in time, and only inverse </a:t>
            </a:r>
            <a:r>
              <a:rPr lang="en-GB" sz="1800" kern="100" dirty="0" err="1">
                <a:effectLst/>
                <a:latin typeface="Calibri" panose="020F0502020204030204" pitchFamily="34" charset="0"/>
                <a:ea typeface="Calibri" panose="020F0502020204030204" pitchFamily="34" charset="0"/>
                <a:cs typeface="Times New Roman" panose="02020603050405020304" pitchFamily="18" charset="0"/>
              </a:rPr>
              <a:t>laplace</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 transform the transfer functions. This is much simpler computationally.</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6</a:t>
            </a:fld>
            <a:endParaRPr lang="de-DE" dirty="0"/>
          </a:p>
        </p:txBody>
      </p:sp>
    </p:spTree>
    <p:extLst>
      <p:ext uri="{BB962C8B-B14F-4D97-AF65-F5344CB8AC3E}">
        <p14:creationId xmlns:p14="http://schemas.microsoft.com/office/powerpoint/2010/main" val="1405052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ext lets look at the methods I tried.</a:t>
            </a:r>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7</a:t>
            </a:fld>
            <a:endParaRPr lang="de-DE" dirty="0"/>
          </a:p>
        </p:txBody>
      </p:sp>
    </p:spTree>
    <p:extLst>
      <p:ext uri="{BB962C8B-B14F-4D97-AF65-F5344CB8AC3E}">
        <p14:creationId xmlns:p14="http://schemas.microsoft.com/office/powerpoint/2010/main" val="3019656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HJB:</a:t>
            </a: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First method I tried was HJB. This is a PDE, which solves optimisation problems in a closed loop form.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You define a cost function, which you want to minimise, in the form of an integral. We need 1 + f, as the integral of 1 gives the final time, which we want to minimise, and f is a gaussian function around the path.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You also define the equation of motion, which we have.</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However, this method didn’t work: Firstly, the equation of motion is an integral over the previous trajectory. Solving the PDE tells us the optimal input function in terms of space and time, which cannot take into account the previous trajectory – so this won’t work</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e other problem is the least time method. A related method can only find open loop solutions, which we can use for training data. However, minimising least time means we change the limits – which is out of the scope of this method.</a:t>
            </a:r>
          </a:p>
          <a:p>
            <a:pPr marL="342900" lvl="0" indent="-342900">
              <a:lnSpc>
                <a:spcPct val="107000"/>
              </a:lnSpc>
              <a:spcAft>
                <a:spcPts val="800"/>
              </a:spcAft>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Researchers have gotten around this by changing variables to position, but we can’t due to the integral equation of motion. </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8</a:t>
            </a:fld>
            <a:endParaRPr lang="de-DE" dirty="0"/>
          </a:p>
        </p:txBody>
      </p:sp>
    </p:spTree>
    <p:extLst>
      <p:ext uri="{BB962C8B-B14F-4D97-AF65-F5344CB8AC3E}">
        <p14:creationId xmlns:p14="http://schemas.microsoft.com/office/powerpoint/2010/main" val="3646301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Collocation:</a:t>
            </a: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e problem setup is very similar to before, and this method will find open loop solutions, which can make training data.</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Firstly we estimate x and u using a weighted sum of polynomials.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en, we discretize into timesteps. This is important, because it means we can approximate the integrals as sums. </a:t>
            </a:r>
          </a:p>
          <a:p>
            <a:pPr marL="342900" lvl="0" indent="-342900">
              <a:lnSpc>
                <a:spcPct val="107000"/>
              </a:lnSpc>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Then we minimise C with respect to the weights, and the final time letting us find the optimum trajectory.</a:t>
            </a:r>
            <a:br>
              <a:rPr lang="en-GB" sz="1800" kern="100" dirty="0">
                <a:effectLst/>
                <a:latin typeface="Calibri" panose="020F0502020204030204" pitchFamily="34" charset="0"/>
                <a:ea typeface="Calibri" panose="020F0502020204030204" pitchFamily="34" charset="0"/>
                <a:cs typeface="Times New Roman" panose="02020603050405020304" pitchFamily="18" charset="0"/>
              </a:rPr>
            </a:b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However, we cannot set the initial or final conditions, which causes big problems in following the path. </a:t>
            </a:r>
          </a:p>
          <a:p>
            <a:endParaRPr lang="en-GB" dirty="0"/>
          </a:p>
        </p:txBody>
      </p:sp>
      <p:sp>
        <p:nvSpPr>
          <p:cNvPr id="4" name="Slide Number Placeholder 3"/>
          <p:cNvSpPr>
            <a:spLocks noGrp="1"/>
          </p:cNvSpPr>
          <p:nvPr>
            <p:ph type="sldNum" sz="quarter" idx="5"/>
          </p:nvPr>
        </p:nvSpPr>
        <p:spPr/>
        <p:txBody>
          <a:bodyPr/>
          <a:lstStyle/>
          <a:p>
            <a:pPr>
              <a:defRPr/>
            </a:pPr>
            <a:fld id="{00AFC6D0-44D5-4EB7-828F-6F464F83D79A}" type="slidenum">
              <a:rPr lang="de-DE" smtClean="0"/>
              <a:pPr>
                <a:defRPr/>
              </a:pPr>
              <a:t>9</a:t>
            </a:fld>
            <a:endParaRPr lang="de-DE" dirty="0"/>
          </a:p>
        </p:txBody>
      </p:sp>
    </p:spTree>
    <p:extLst>
      <p:ext uri="{BB962C8B-B14F-4D97-AF65-F5344CB8AC3E}">
        <p14:creationId xmlns:p14="http://schemas.microsoft.com/office/powerpoint/2010/main" val="2234729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tiff"/><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tiff"/><Relationship Id="rId5" Type="http://schemas.openxmlformats.org/officeDocument/2006/relationships/image" Target="../media/image3.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5.tif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Bild">
    <p:bg>
      <p:bgRef idx="1001">
        <a:schemeClr val="bg2"/>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81296793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2119" y="1591"/>
                        <a:ext cx="2116" cy="1587"/>
                      </a:xfrm>
                      <a:prstGeom prst="rect">
                        <a:avLst/>
                      </a:prstGeom>
                    </p:spPr>
                  </p:pic>
                </p:oleObj>
              </mc:Fallback>
            </mc:AlternateContent>
          </a:graphicData>
        </a:graphic>
      </p:graphicFrame>
      <p:pic>
        <p:nvPicPr>
          <p:cNvPr id="3" name="Bild 3" descr="20150416 tum logo blau png final.png"/>
          <p:cNvPicPr>
            <a:picLocks noChangeAspect="1"/>
          </p:cNvPicPr>
          <p:nvPr userDrawn="1"/>
        </p:nvPicPr>
        <p:blipFill>
          <a:blip r:embed="rId5"/>
          <a:stretch>
            <a:fillRect/>
          </a:stretch>
        </p:blipFill>
        <p:spPr bwMode="black">
          <a:xfrm>
            <a:off x="11160665" y="324650"/>
            <a:ext cx="602472" cy="320400"/>
          </a:xfrm>
          <a:prstGeom prst="rect">
            <a:avLst/>
          </a:prstGeom>
        </p:spPr>
      </p:pic>
      <p:sp>
        <p:nvSpPr>
          <p:cNvPr id="4" name="Inhaltsplatzhalter 2"/>
          <p:cNvSpPr>
            <a:spLocks noGrp="1"/>
          </p:cNvSpPr>
          <p:nvPr>
            <p:ph idx="10" hasCustomPrompt="1"/>
          </p:nvPr>
        </p:nvSpPr>
        <p:spPr>
          <a:xfrm>
            <a:off x="425452" y="2830480"/>
            <a:ext cx="5660389" cy="329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tx1"/>
                </a:solidFill>
              </a:defRPr>
            </a:lvl1pPr>
            <a:lvl2pPr>
              <a:defRPr lang="de-DE" noProof="0" dirty="0" smtClean="0"/>
            </a:lvl2pPr>
          </a:lstStyle>
          <a:p>
            <a:pPr lvl="0"/>
            <a:r>
              <a:rPr lang="en-US" noProof="0" dirty="0"/>
              <a:t>Referent</a:t>
            </a:r>
            <a:br>
              <a:rPr lang="en-US" noProof="0" dirty="0"/>
            </a:br>
            <a:r>
              <a:rPr lang="en-US" noProof="0" dirty="0"/>
              <a:t>Ort, Datum</a:t>
            </a:r>
          </a:p>
        </p:txBody>
      </p:sp>
      <p:sp>
        <p:nvSpPr>
          <p:cNvPr id="5" name="Titel 1"/>
          <p:cNvSpPr>
            <a:spLocks noGrp="1"/>
          </p:cNvSpPr>
          <p:nvPr>
            <p:ph type="title" hasCustomPrompt="1"/>
          </p:nvPr>
        </p:nvSpPr>
        <p:spPr>
          <a:xfrm>
            <a:off x="425455" y="994337"/>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solidFill>
                  <a:schemeClr val="tx1"/>
                </a:solidFill>
              </a:defRPr>
            </a:lvl1pPr>
          </a:lstStyle>
          <a:p>
            <a:pPr lvl="0"/>
            <a:r>
              <a:rPr lang="en-US" noProof="0" dirty="0" err="1"/>
              <a:t>Titel</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9" name="Textplatzhalter 2"/>
          <p:cNvSpPr>
            <a:spLocks noGrp="1"/>
          </p:cNvSpPr>
          <p:nvPr>
            <p:ph type="body" sz="quarter" idx="11" hasCustomPrompt="1"/>
          </p:nvPr>
        </p:nvSpPr>
        <p:spPr>
          <a:xfrm>
            <a:off x="425453" y="2098967"/>
            <a:ext cx="5660391" cy="377796"/>
          </a:xfrm>
          <a:prstGeom prst="rect">
            <a:avLst/>
          </a:prstGeom>
        </p:spPr>
        <p:txBody>
          <a:bodyPr lIns="0" tIns="0" rIns="0" bIns="0" anchor="ctr"/>
          <a:lstStyle>
            <a:lvl1pPr>
              <a:defRPr sz="2000" baseline="0">
                <a:solidFill>
                  <a:schemeClr val="tx1"/>
                </a:solidFill>
              </a:defRPr>
            </a:lvl1pPr>
          </a:lstStyle>
          <a:p>
            <a:pPr lvl="0"/>
            <a:r>
              <a:rPr lang="en-US" dirty="0" err="1"/>
              <a:t>Untertitel</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1" name="Foliennummernplatzhalter 10"/>
          <p:cNvSpPr>
            <a:spLocks noGrp="1"/>
          </p:cNvSpPr>
          <p:nvPr>
            <p:ph type="sldNum" sz="quarter" idx="12"/>
          </p:nvPr>
        </p:nvSpPr>
        <p:spPr>
          <a:xfrm>
            <a:off x="11307235" y="6586188"/>
            <a:ext cx="461783" cy="152349"/>
          </a:xfrm>
          <a:prstGeom prst="rect">
            <a:avLst/>
          </a:prstGeom>
        </p:spPr>
        <p:txBody>
          <a:bodyPr/>
          <a:lstStyle/>
          <a:p>
            <a:pPr algn="r">
              <a:lnSpc>
                <a:spcPct val="110000"/>
              </a:lnSpc>
            </a:pPr>
            <a:fld id="{0150336B-E114-481A-A5C5-087F4C05B58E}" type="slidenum">
              <a:rPr lang="en-US" smtClean="0"/>
              <a:pPr algn="r">
                <a:lnSpc>
                  <a:spcPct val="110000"/>
                </a:lnSpc>
              </a:pPr>
              <a:t>‹#›</a:t>
            </a:fld>
            <a:endParaRPr lang="en-US" dirty="0"/>
          </a:p>
        </p:txBody>
      </p:sp>
      <p:grpSp>
        <p:nvGrpSpPr>
          <p:cNvPr id="12" name="Gruppieren 11"/>
          <p:cNvGrpSpPr/>
          <p:nvPr userDrawn="1"/>
        </p:nvGrpSpPr>
        <p:grpSpPr>
          <a:xfrm>
            <a:off x="2571751" y="1647825"/>
            <a:ext cx="9620250" cy="5310663"/>
            <a:chOff x="1327639" y="2191149"/>
            <a:chExt cx="7798776" cy="4767339"/>
          </a:xfrm>
        </p:grpSpPr>
        <p:pic>
          <p:nvPicPr>
            <p:cNvPr id="13" name="Grafik 12"/>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614854" y="2191149"/>
              <a:ext cx="7511561" cy="4631682"/>
            </a:xfrm>
            <a:prstGeom prst="rect">
              <a:avLst/>
            </a:prstGeom>
          </p:spPr>
        </p:pic>
        <p:pic>
          <p:nvPicPr>
            <p:cNvPr id="14" name="Grafik 13"/>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327639" y="6518579"/>
              <a:ext cx="3050931" cy="439909"/>
            </a:xfrm>
            <a:prstGeom prst="rect">
              <a:avLst/>
            </a:prstGeom>
          </p:spPr>
        </p:pic>
      </p:grpSp>
    </p:spTree>
    <p:extLst>
      <p:ext uri="{BB962C8B-B14F-4D97-AF65-F5344CB8AC3E}">
        <p14:creationId xmlns:p14="http://schemas.microsoft.com/office/powerpoint/2010/main" val="206880977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amvorstellung">
    <p:spTree>
      <p:nvGrpSpPr>
        <p:cNvPr id="1" name=""/>
        <p:cNvGrpSpPr/>
        <p:nvPr/>
      </p:nvGrpSpPr>
      <p:grpSpPr>
        <a:xfrm>
          <a:off x="0" y="0"/>
          <a:ext cx="0" cy="0"/>
          <a:chOff x="0" y="0"/>
          <a:chExt cx="0" cy="0"/>
        </a:xfrm>
      </p:grpSpPr>
      <p:sp>
        <p:nvSpPr>
          <p:cNvPr id="4" name="Titel 1"/>
          <p:cNvSpPr>
            <a:spLocks noGrp="1"/>
          </p:cNvSpPr>
          <p:nvPr>
            <p:ph type="title" hasCustomPrompt="1"/>
          </p:nvPr>
        </p:nvSpPr>
        <p:spPr>
          <a:xfrm>
            <a:off x="425456"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en-US" noProof="0" dirty="0" err="1"/>
              <a:t>Hauptaussage</a:t>
            </a:r>
            <a:r>
              <a:rPr lang="en-US" noProof="0" dirty="0"/>
              <a:t> der </a:t>
            </a:r>
            <a:r>
              <a:rPr lang="en-US" noProof="0" dirty="0" err="1"/>
              <a:t>Folie</a:t>
            </a:r>
            <a:r>
              <a:rPr lang="en-US" noProof="0" dirty="0"/>
              <a:t> (Action Title)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useBgFill="1">
        <p:nvSpPr>
          <p:cNvPr id="5"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en-US" noProof="0" dirty="0" err="1"/>
              <a:t>Gliederung</a:t>
            </a:r>
            <a:r>
              <a:rPr lang="en-US" noProof="0" dirty="0"/>
              <a:t> / </a:t>
            </a:r>
            <a:r>
              <a:rPr lang="en-US" noProof="0" dirty="0" err="1"/>
              <a:t>Thema</a:t>
            </a:r>
            <a:r>
              <a:rPr lang="en-US" noProof="0" dirty="0"/>
              <a:t> / </a:t>
            </a:r>
            <a:r>
              <a:rPr lang="en-US" noProof="0" dirty="0" err="1"/>
              <a:t>Kapitelnam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cxnSp>
        <p:nvCxnSpPr>
          <p:cNvPr id="26" name="Gerade Verbindung 18"/>
          <p:cNvCxnSpPr/>
          <p:nvPr userDrawn="1"/>
        </p:nvCxnSpPr>
        <p:spPr>
          <a:xfrm>
            <a:off x="425457" y="469046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44" name="Foliennummernplatzhalter 3"/>
          <p:cNvSpPr>
            <a:spLocks noGrp="1"/>
          </p:cNvSpPr>
          <p:nvPr>
            <p:ph type="sldNum" sz="quarter" idx="4"/>
          </p:nvPr>
        </p:nvSpPr>
        <p:spPr>
          <a:xfrm>
            <a:off x="11298419" y="6586188"/>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en-US" smtClean="0"/>
              <a:pPr algn="r">
                <a:lnSpc>
                  <a:spcPct val="110000"/>
                </a:lnSpc>
              </a:pPr>
              <a:t>‹#›</a:t>
            </a:fld>
            <a:endParaRPr lang="en-US" dirty="0"/>
          </a:p>
        </p:txBody>
      </p:sp>
      <p:cxnSp>
        <p:nvCxnSpPr>
          <p:cNvPr id="45" name="Gerade Verbindung 18"/>
          <p:cNvCxnSpPr/>
          <p:nvPr userDrawn="1"/>
        </p:nvCxnSpPr>
        <p:spPr>
          <a:xfrm>
            <a:off x="425457" y="2163005"/>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cxnSp>
        <p:nvCxnSpPr>
          <p:cNvPr id="46" name="Gerade Verbindung 18"/>
          <p:cNvCxnSpPr/>
          <p:nvPr userDrawn="1"/>
        </p:nvCxnSpPr>
        <p:spPr>
          <a:xfrm>
            <a:off x="425457" y="342900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47" name="Textfeld 46"/>
          <p:cNvSpPr txBox="1"/>
          <p:nvPr userDrawn="1"/>
        </p:nvSpPr>
        <p:spPr>
          <a:xfrm>
            <a:off x="425457" y="2959495"/>
            <a:ext cx="2244559" cy="406265"/>
          </a:xfrm>
          <a:prstGeom prst="rect">
            <a:avLst/>
          </a:prstGeom>
          <a:noFill/>
        </p:spPr>
        <p:txBody>
          <a:bodyPr wrap="square" lIns="0" tIns="0" rIns="0" bIns="0" rtlCol="0">
            <a:spAutoFit/>
          </a:bodyPr>
          <a:lstStyle/>
          <a:p>
            <a:pPr defTabSz="449263">
              <a:lnSpc>
                <a:spcPct val="110000"/>
              </a:lnSpc>
              <a:tabLst>
                <a:tab pos="628650" algn="l"/>
              </a:tabLst>
            </a:pPr>
            <a:r>
              <a:rPr lang="en-US" sz="1200" b="1" dirty="0"/>
              <a:t>Tel. </a:t>
            </a:r>
            <a:r>
              <a:rPr lang="en-US" sz="1200" b="0" dirty="0"/>
              <a:t>	</a:t>
            </a:r>
            <a:r>
              <a:rPr lang="en-US" sz="1200" dirty="0"/>
              <a:t>+49.89.289.</a:t>
            </a:r>
          </a:p>
          <a:p>
            <a:pPr defTabSz="449263">
              <a:lnSpc>
                <a:spcPct val="110000"/>
              </a:lnSpc>
              <a:tabLst>
                <a:tab pos="806450" algn="l"/>
              </a:tabLst>
            </a:pPr>
            <a:r>
              <a:rPr lang="en-US" sz="1200" b="1" dirty="0"/>
              <a:t>E-Mail</a:t>
            </a:r>
            <a:r>
              <a:rPr lang="en-US" sz="1200" dirty="0"/>
              <a:t>	</a:t>
            </a:r>
          </a:p>
        </p:txBody>
      </p:sp>
      <p:sp>
        <p:nvSpPr>
          <p:cNvPr id="48" name="Textplatzhalter 28"/>
          <p:cNvSpPr>
            <a:spLocks noGrp="1"/>
          </p:cNvSpPr>
          <p:nvPr>
            <p:ph type="body" sz="quarter" idx="24" hasCustomPrompt="1"/>
          </p:nvPr>
        </p:nvSpPr>
        <p:spPr>
          <a:xfrm>
            <a:off x="1894875" y="2959492"/>
            <a:ext cx="937899" cy="230832"/>
          </a:xfrm>
          <a:prstGeom prst="rect">
            <a:avLst/>
          </a:prstGeom>
        </p:spPr>
        <p:txBody>
          <a:bodyPr lIns="0" tIns="0" rIns="0" bIns="0">
            <a:noAutofit/>
          </a:bodyPr>
          <a:lstStyle>
            <a:lvl1pPr>
              <a:defRPr sz="1200"/>
            </a:lvl1pPr>
          </a:lstStyle>
          <a:p>
            <a:pPr lvl="0"/>
            <a:r>
              <a:rPr lang="en-US" dirty="0"/>
              <a:t>&lt;Tel.&gt;</a:t>
            </a:r>
          </a:p>
        </p:txBody>
      </p:sp>
      <p:sp>
        <p:nvSpPr>
          <p:cNvPr id="49" name="Textplatzhalter 28"/>
          <p:cNvSpPr>
            <a:spLocks noGrp="1"/>
          </p:cNvSpPr>
          <p:nvPr>
            <p:ph type="body" sz="quarter" idx="25" hasCustomPrompt="1"/>
          </p:nvPr>
        </p:nvSpPr>
        <p:spPr>
          <a:xfrm>
            <a:off x="1066462" y="3158712"/>
            <a:ext cx="3153993" cy="230832"/>
          </a:xfrm>
          <a:prstGeom prst="rect">
            <a:avLst/>
          </a:prstGeom>
        </p:spPr>
        <p:txBody>
          <a:bodyPr lIns="0" tIns="0" rIns="0" bIns="0">
            <a:noAutofit/>
          </a:bodyPr>
          <a:lstStyle>
            <a:lvl1pPr>
              <a:defRPr sz="1200"/>
            </a:lvl1pPr>
          </a:lstStyle>
          <a:p>
            <a:pPr lvl="0"/>
            <a:r>
              <a:rPr lang="en-US" dirty="0"/>
              <a:t>&lt;E-Mail&gt;</a:t>
            </a:r>
          </a:p>
        </p:txBody>
      </p:sp>
      <p:sp>
        <p:nvSpPr>
          <p:cNvPr id="50" name="Textplatzhalter 4"/>
          <p:cNvSpPr>
            <a:spLocks noGrp="1"/>
          </p:cNvSpPr>
          <p:nvPr>
            <p:ph type="body" sz="quarter" idx="26" hasCustomPrompt="1"/>
          </p:nvPr>
        </p:nvSpPr>
        <p:spPr>
          <a:xfrm>
            <a:off x="425455" y="2275630"/>
            <a:ext cx="3876740" cy="230832"/>
          </a:xfrm>
          <a:prstGeom prst="rect">
            <a:avLst/>
          </a:prstGeom>
        </p:spPr>
        <p:txBody>
          <a:bodyPr lIns="0" tIns="0" rIns="0" bIns="0">
            <a:noAutofit/>
          </a:bodyPr>
          <a:lstStyle>
            <a:lvl1pPr>
              <a:defRPr sz="1200" b="1" baseline="0"/>
            </a:lvl1pPr>
          </a:lstStyle>
          <a:p>
            <a:pPr lvl="0"/>
            <a:r>
              <a:rPr lang="en-US" dirty="0"/>
              <a:t>Name Surname</a:t>
            </a:r>
          </a:p>
        </p:txBody>
      </p:sp>
      <p:sp>
        <p:nvSpPr>
          <p:cNvPr id="51" name="Textplatzhalter 4"/>
          <p:cNvSpPr>
            <a:spLocks noGrp="1"/>
          </p:cNvSpPr>
          <p:nvPr>
            <p:ph type="body" sz="quarter" idx="27" hasCustomPrompt="1"/>
          </p:nvPr>
        </p:nvSpPr>
        <p:spPr>
          <a:xfrm>
            <a:off x="425455" y="2506462"/>
            <a:ext cx="3876740" cy="230832"/>
          </a:xfrm>
          <a:prstGeom prst="rect">
            <a:avLst/>
          </a:prstGeom>
        </p:spPr>
        <p:txBody>
          <a:bodyPr lIns="0" tIns="0" rIns="0" bIns="0">
            <a:noAutofit/>
          </a:bodyPr>
          <a:lstStyle>
            <a:lvl1pPr>
              <a:lnSpc>
                <a:spcPct val="110000"/>
              </a:lnSpc>
              <a:defRPr sz="1200" b="0" baseline="0"/>
            </a:lvl1pPr>
          </a:lstStyle>
          <a:p>
            <a:pPr lvl="0"/>
            <a:r>
              <a:rPr lang="en-US" dirty="0"/>
              <a:t>Research Team TG-XX or project task description</a:t>
            </a:r>
          </a:p>
        </p:txBody>
      </p:sp>
      <p:sp>
        <p:nvSpPr>
          <p:cNvPr id="52" name="Bildplatzhalter 49"/>
          <p:cNvSpPr>
            <a:spLocks noGrp="1"/>
          </p:cNvSpPr>
          <p:nvPr>
            <p:ph type="pic" sz="quarter" idx="34" hasCustomPrompt="1"/>
          </p:nvPr>
        </p:nvSpPr>
        <p:spPr>
          <a:xfrm>
            <a:off x="4997641" y="2273885"/>
            <a:ext cx="804425"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en-US" dirty="0"/>
              <a:t>Picture</a:t>
            </a:r>
          </a:p>
        </p:txBody>
      </p:sp>
      <p:sp>
        <p:nvSpPr>
          <p:cNvPr id="53" name="Bildplatzhalter 49"/>
          <p:cNvSpPr>
            <a:spLocks noGrp="1"/>
          </p:cNvSpPr>
          <p:nvPr>
            <p:ph type="pic" sz="quarter" idx="50" hasCustomPrompt="1"/>
          </p:nvPr>
        </p:nvSpPr>
        <p:spPr>
          <a:xfrm>
            <a:off x="10955776" y="2273885"/>
            <a:ext cx="804425"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en-US" dirty="0"/>
              <a:t>Picture</a:t>
            </a:r>
          </a:p>
        </p:txBody>
      </p:sp>
      <p:sp>
        <p:nvSpPr>
          <p:cNvPr id="54" name="Textfeld 53"/>
          <p:cNvSpPr txBox="1"/>
          <p:nvPr userDrawn="1"/>
        </p:nvSpPr>
        <p:spPr>
          <a:xfrm>
            <a:off x="6384457" y="2959495"/>
            <a:ext cx="2244559" cy="406265"/>
          </a:xfrm>
          <a:prstGeom prst="rect">
            <a:avLst/>
          </a:prstGeom>
          <a:noFill/>
        </p:spPr>
        <p:txBody>
          <a:bodyPr wrap="square" lIns="0" tIns="0" rIns="0" bIns="0" rtlCol="0">
            <a:spAutoFit/>
          </a:bodyPr>
          <a:lstStyle/>
          <a:p>
            <a:pPr defTabSz="449263">
              <a:lnSpc>
                <a:spcPct val="110000"/>
              </a:lnSpc>
              <a:tabLst>
                <a:tab pos="628650" algn="l"/>
              </a:tabLst>
            </a:pPr>
            <a:r>
              <a:rPr lang="en-US" sz="1200" b="1" dirty="0"/>
              <a:t>Tel. </a:t>
            </a:r>
            <a:r>
              <a:rPr lang="en-US" sz="1200" b="0" dirty="0"/>
              <a:t>	</a:t>
            </a:r>
            <a:r>
              <a:rPr lang="en-US" sz="1200" dirty="0"/>
              <a:t>+49.89.289.</a:t>
            </a:r>
          </a:p>
          <a:p>
            <a:pPr defTabSz="449263">
              <a:lnSpc>
                <a:spcPct val="110000"/>
              </a:lnSpc>
              <a:tabLst>
                <a:tab pos="806450" algn="l"/>
              </a:tabLst>
            </a:pPr>
            <a:r>
              <a:rPr lang="en-US" sz="1200" b="1" dirty="0"/>
              <a:t>E-Mail</a:t>
            </a:r>
            <a:r>
              <a:rPr lang="en-US" sz="1200" dirty="0"/>
              <a:t>	</a:t>
            </a:r>
          </a:p>
        </p:txBody>
      </p:sp>
      <p:sp>
        <p:nvSpPr>
          <p:cNvPr id="55" name="Textplatzhalter 28"/>
          <p:cNvSpPr>
            <a:spLocks noGrp="1"/>
          </p:cNvSpPr>
          <p:nvPr>
            <p:ph type="body" sz="quarter" idx="51" hasCustomPrompt="1"/>
          </p:nvPr>
        </p:nvSpPr>
        <p:spPr>
          <a:xfrm>
            <a:off x="7853875" y="2959492"/>
            <a:ext cx="937899" cy="230832"/>
          </a:xfrm>
          <a:prstGeom prst="rect">
            <a:avLst/>
          </a:prstGeom>
        </p:spPr>
        <p:txBody>
          <a:bodyPr lIns="0" tIns="0" rIns="0" bIns="0">
            <a:noAutofit/>
          </a:bodyPr>
          <a:lstStyle>
            <a:lvl1pPr>
              <a:defRPr sz="1200"/>
            </a:lvl1pPr>
          </a:lstStyle>
          <a:p>
            <a:pPr lvl="0"/>
            <a:r>
              <a:rPr lang="en-US" dirty="0"/>
              <a:t>&lt;Tel.&gt;</a:t>
            </a:r>
          </a:p>
        </p:txBody>
      </p:sp>
      <p:sp>
        <p:nvSpPr>
          <p:cNvPr id="56" name="Textplatzhalter 28"/>
          <p:cNvSpPr>
            <a:spLocks noGrp="1"/>
          </p:cNvSpPr>
          <p:nvPr>
            <p:ph type="body" sz="quarter" idx="52" hasCustomPrompt="1"/>
          </p:nvPr>
        </p:nvSpPr>
        <p:spPr>
          <a:xfrm>
            <a:off x="7025462" y="3158712"/>
            <a:ext cx="3153993" cy="230832"/>
          </a:xfrm>
          <a:prstGeom prst="rect">
            <a:avLst/>
          </a:prstGeom>
        </p:spPr>
        <p:txBody>
          <a:bodyPr lIns="0" tIns="0" rIns="0" bIns="0">
            <a:noAutofit/>
          </a:bodyPr>
          <a:lstStyle>
            <a:lvl1pPr>
              <a:defRPr sz="1200"/>
            </a:lvl1pPr>
          </a:lstStyle>
          <a:p>
            <a:pPr lvl="0"/>
            <a:r>
              <a:rPr lang="en-US" dirty="0"/>
              <a:t>&lt;E-Mail&gt;</a:t>
            </a:r>
          </a:p>
        </p:txBody>
      </p:sp>
      <p:sp>
        <p:nvSpPr>
          <p:cNvPr id="57" name="Textplatzhalter 4"/>
          <p:cNvSpPr>
            <a:spLocks noGrp="1"/>
          </p:cNvSpPr>
          <p:nvPr>
            <p:ph type="body" sz="quarter" idx="53" hasCustomPrompt="1"/>
          </p:nvPr>
        </p:nvSpPr>
        <p:spPr>
          <a:xfrm>
            <a:off x="6384455" y="2275630"/>
            <a:ext cx="3876740" cy="230832"/>
          </a:xfrm>
          <a:prstGeom prst="rect">
            <a:avLst/>
          </a:prstGeom>
        </p:spPr>
        <p:txBody>
          <a:bodyPr lIns="0" tIns="0" rIns="0" bIns="0">
            <a:noAutofit/>
          </a:bodyPr>
          <a:lstStyle>
            <a:lvl1pPr>
              <a:defRPr sz="1200" b="1" baseline="0"/>
            </a:lvl1pPr>
          </a:lstStyle>
          <a:p>
            <a:pPr lvl="0"/>
            <a:r>
              <a:rPr lang="en-US" dirty="0"/>
              <a:t>Name Surname</a:t>
            </a:r>
          </a:p>
        </p:txBody>
      </p:sp>
      <p:sp>
        <p:nvSpPr>
          <p:cNvPr id="58" name="Textplatzhalter 4"/>
          <p:cNvSpPr>
            <a:spLocks noGrp="1"/>
          </p:cNvSpPr>
          <p:nvPr>
            <p:ph type="body" sz="quarter" idx="54" hasCustomPrompt="1"/>
          </p:nvPr>
        </p:nvSpPr>
        <p:spPr>
          <a:xfrm>
            <a:off x="6384455" y="2506462"/>
            <a:ext cx="3876740" cy="230832"/>
          </a:xfrm>
          <a:prstGeom prst="rect">
            <a:avLst/>
          </a:prstGeom>
        </p:spPr>
        <p:txBody>
          <a:bodyPr lIns="0" tIns="0" rIns="0" bIns="0">
            <a:noAutofit/>
          </a:bodyPr>
          <a:lstStyle>
            <a:lvl1pPr>
              <a:lnSpc>
                <a:spcPct val="110000"/>
              </a:lnSpc>
              <a:defRPr sz="1200" b="0" baseline="0"/>
            </a:lvl1pPr>
          </a:lstStyle>
          <a:p>
            <a:pPr lvl="0"/>
            <a:r>
              <a:rPr lang="en-US" dirty="0"/>
              <a:t>Research Team TG-XX or project task description</a:t>
            </a:r>
          </a:p>
        </p:txBody>
      </p:sp>
      <p:sp>
        <p:nvSpPr>
          <p:cNvPr id="60" name="Textfeld 59"/>
          <p:cNvSpPr txBox="1"/>
          <p:nvPr userDrawn="1"/>
        </p:nvSpPr>
        <p:spPr>
          <a:xfrm>
            <a:off x="425457" y="4220955"/>
            <a:ext cx="2244559" cy="406265"/>
          </a:xfrm>
          <a:prstGeom prst="rect">
            <a:avLst/>
          </a:prstGeom>
          <a:noFill/>
        </p:spPr>
        <p:txBody>
          <a:bodyPr wrap="square" lIns="0" tIns="0" rIns="0" bIns="0" rtlCol="0">
            <a:spAutoFit/>
          </a:bodyPr>
          <a:lstStyle/>
          <a:p>
            <a:pPr defTabSz="449263">
              <a:lnSpc>
                <a:spcPct val="110000"/>
              </a:lnSpc>
              <a:tabLst>
                <a:tab pos="628650" algn="l"/>
              </a:tabLst>
            </a:pPr>
            <a:r>
              <a:rPr lang="en-US" sz="1200" b="1" dirty="0"/>
              <a:t>Tel. </a:t>
            </a:r>
            <a:r>
              <a:rPr lang="en-US" sz="1200" b="0" dirty="0"/>
              <a:t>	</a:t>
            </a:r>
            <a:r>
              <a:rPr lang="en-US" sz="1200" dirty="0"/>
              <a:t>+49.89.289.</a:t>
            </a:r>
          </a:p>
          <a:p>
            <a:pPr defTabSz="449263">
              <a:lnSpc>
                <a:spcPct val="110000"/>
              </a:lnSpc>
              <a:tabLst>
                <a:tab pos="806450" algn="l"/>
              </a:tabLst>
            </a:pPr>
            <a:r>
              <a:rPr lang="en-US" sz="1200" b="1" dirty="0"/>
              <a:t>E-Mail</a:t>
            </a:r>
            <a:r>
              <a:rPr lang="en-US" sz="1200" dirty="0"/>
              <a:t>	</a:t>
            </a:r>
          </a:p>
        </p:txBody>
      </p:sp>
      <p:sp>
        <p:nvSpPr>
          <p:cNvPr id="61" name="Textplatzhalter 28"/>
          <p:cNvSpPr>
            <a:spLocks noGrp="1"/>
          </p:cNvSpPr>
          <p:nvPr>
            <p:ph type="body" sz="quarter" idx="55" hasCustomPrompt="1"/>
          </p:nvPr>
        </p:nvSpPr>
        <p:spPr>
          <a:xfrm>
            <a:off x="1894875" y="4220952"/>
            <a:ext cx="937899" cy="230832"/>
          </a:xfrm>
          <a:prstGeom prst="rect">
            <a:avLst/>
          </a:prstGeom>
        </p:spPr>
        <p:txBody>
          <a:bodyPr lIns="0" tIns="0" rIns="0" bIns="0">
            <a:noAutofit/>
          </a:bodyPr>
          <a:lstStyle>
            <a:lvl1pPr>
              <a:defRPr sz="1200"/>
            </a:lvl1pPr>
          </a:lstStyle>
          <a:p>
            <a:pPr lvl="0"/>
            <a:r>
              <a:rPr lang="en-US" dirty="0"/>
              <a:t>&lt;Tel.&gt;</a:t>
            </a:r>
          </a:p>
        </p:txBody>
      </p:sp>
      <p:sp>
        <p:nvSpPr>
          <p:cNvPr id="62" name="Textplatzhalter 28"/>
          <p:cNvSpPr>
            <a:spLocks noGrp="1"/>
          </p:cNvSpPr>
          <p:nvPr>
            <p:ph type="body" sz="quarter" idx="56" hasCustomPrompt="1"/>
          </p:nvPr>
        </p:nvSpPr>
        <p:spPr>
          <a:xfrm>
            <a:off x="1066462" y="4420172"/>
            <a:ext cx="3153993" cy="230832"/>
          </a:xfrm>
          <a:prstGeom prst="rect">
            <a:avLst/>
          </a:prstGeom>
        </p:spPr>
        <p:txBody>
          <a:bodyPr lIns="0" tIns="0" rIns="0" bIns="0">
            <a:noAutofit/>
          </a:bodyPr>
          <a:lstStyle>
            <a:lvl1pPr>
              <a:defRPr sz="1200"/>
            </a:lvl1pPr>
          </a:lstStyle>
          <a:p>
            <a:pPr lvl="0"/>
            <a:r>
              <a:rPr lang="en-US" dirty="0"/>
              <a:t>&lt;E-Mail&gt;</a:t>
            </a:r>
          </a:p>
        </p:txBody>
      </p:sp>
      <p:sp>
        <p:nvSpPr>
          <p:cNvPr id="63" name="Textplatzhalter 4"/>
          <p:cNvSpPr>
            <a:spLocks noGrp="1"/>
          </p:cNvSpPr>
          <p:nvPr>
            <p:ph type="body" sz="quarter" idx="57" hasCustomPrompt="1"/>
          </p:nvPr>
        </p:nvSpPr>
        <p:spPr>
          <a:xfrm>
            <a:off x="425455" y="3537090"/>
            <a:ext cx="3876740" cy="230832"/>
          </a:xfrm>
          <a:prstGeom prst="rect">
            <a:avLst/>
          </a:prstGeom>
        </p:spPr>
        <p:txBody>
          <a:bodyPr lIns="0" tIns="0" rIns="0" bIns="0">
            <a:noAutofit/>
          </a:bodyPr>
          <a:lstStyle>
            <a:lvl1pPr>
              <a:defRPr sz="1200" b="1" baseline="0"/>
            </a:lvl1pPr>
          </a:lstStyle>
          <a:p>
            <a:pPr lvl="0"/>
            <a:r>
              <a:rPr lang="en-US" dirty="0"/>
              <a:t>Name Surname</a:t>
            </a:r>
          </a:p>
        </p:txBody>
      </p:sp>
      <p:sp>
        <p:nvSpPr>
          <p:cNvPr id="64" name="Textplatzhalter 4"/>
          <p:cNvSpPr>
            <a:spLocks noGrp="1"/>
          </p:cNvSpPr>
          <p:nvPr>
            <p:ph type="body" sz="quarter" idx="58" hasCustomPrompt="1"/>
          </p:nvPr>
        </p:nvSpPr>
        <p:spPr>
          <a:xfrm>
            <a:off x="425455" y="3767922"/>
            <a:ext cx="3876740" cy="230832"/>
          </a:xfrm>
          <a:prstGeom prst="rect">
            <a:avLst/>
          </a:prstGeom>
        </p:spPr>
        <p:txBody>
          <a:bodyPr lIns="0" tIns="0" rIns="0" bIns="0">
            <a:noAutofit/>
          </a:bodyPr>
          <a:lstStyle>
            <a:lvl1pPr>
              <a:lnSpc>
                <a:spcPct val="110000"/>
              </a:lnSpc>
              <a:defRPr sz="1200" b="0" baseline="0"/>
            </a:lvl1pPr>
          </a:lstStyle>
          <a:p>
            <a:pPr lvl="0"/>
            <a:r>
              <a:rPr lang="en-US" dirty="0"/>
              <a:t>Research Team TG-XX or project task description</a:t>
            </a:r>
          </a:p>
        </p:txBody>
      </p:sp>
      <p:sp>
        <p:nvSpPr>
          <p:cNvPr id="65" name="Bildplatzhalter 49"/>
          <p:cNvSpPr>
            <a:spLocks noGrp="1"/>
          </p:cNvSpPr>
          <p:nvPr>
            <p:ph type="pic" sz="quarter" idx="59" hasCustomPrompt="1"/>
          </p:nvPr>
        </p:nvSpPr>
        <p:spPr>
          <a:xfrm>
            <a:off x="4997641" y="3535345"/>
            <a:ext cx="804425"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en-US" dirty="0"/>
              <a:t>Picture</a:t>
            </a:r>
          </a:p>
        </p:txBody>
      </p:sp>
      <p:sp>
        <p:nvSpPr>
          <p:cNvPr id="66" name="Bildplatzhalter 49"/>
          <p:cNvSpPr>
            <a:spLocks noGrp="1"/>
          </p:cNvSpPr>
          <p:nvPr>
            <p:ph type="pic" sz="quarter" idx="60" hasCustomPrompt="1"/>
          </p:nvPr>
        </p:nvSpPr>
        <p:spPr>
          <a:xfrm>
            <a:off x="10955776" y="3535345"/>
            <a:ext cx="804425"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en-US" dirty="0"/>
              <a:t>Picture</a:t>
            </a:r>
          </a:p>
        </p:txBody>
      </p:sp>
      <p:sp>
        <p:nvSpPr>
          <p:cNvPr id="67" name="Textfeld 66"/>
          <p:cNvSpPr txBox="1"/>
          <p:nvPr userDrawn="1"/>
        </p:nvSpPr>
        <p:spPr>
          <a:xfrm>
            <a:off x="6384457" y="4220955"/>
            <a:ext cx="2244559" cy="406265"/>
          </a:xfrm>
          <a:prstGeom prst="rect">
            <a:avLst/>
          </a:prstGeom>
          <a:noFill/>
        </p:spPr>
        <p:txBody>
          <a:bodyPr wrap="square" lIns="0" tIns="0" rIns="0" bIns="0" rtlCol="0">
            <a:spAutoFit/>
          </a:bodyPr>
          <a:lstStyle/>
          <a:p>
            <a:pPr defTabSz="449263">
              <a:lnSpc>
                <a:spcPct val="110000"/>
              </a:lnSpc>
              <a:tabLst>
                <a:tab pos="628650" algn="l"/>
              </a:tabLst>
            </a:pPr>
            <a:r>
              <a:rPr lang="en-US" sz="1200" b="1" dirty="0"/>
              <a:t>Tel. </a:t>
            </a:r>
            <a:r>
              <a:rPr lang="en-US" sz="1200" b="0" dirty="0"/>
              <a:t>	</a:t>
            </a:r>
            <a:r>
              <a:rPr lang="en-US" sz="1200" dirty="0"/>
              <a:t>+49.89.289.</a:t>
            </a:r>
          </a:p>
          <a:p>
            <a:pPr defTabSz="449263">
              <a:lnSpc>
                <a:spcPct val="110000"/>
              </a:lnSpc>
              <a:tabLst>
                <a:tab pos="806450" algn="l"/>
              </a:tabLst>
            </a:pPr>
            <a:r>
              <a:rPr lang="en-US" sz="1200" b="1" dirty="0"/>
              <a:t>E-Mail</a:t>
            </a:r>
            <a:r>
              <a:rPr lang="en-US" sz="1200" dirty="0"/>
              <a:t>	</a:t>
            </a:r>
          </a:p>
        </p:txBody>
      </p:sp>
      <p:sp>
        <p:nvSpPr>
          <p:cNvPr id="68" name="Textplatzhalter 28"/>
          <p:cNvSpPr>
            <a:spLocks noGrp="1"/>
          </p:cNvSpPr>
          <p:nvPr>
            <p:ph type="body" sz="quarter" idx="61" hasCustomPrompt="1"/>
          </p:nvPr>
        </p:nvSpPr>
        <p:spPr>
          <a:xfrm>
            <a:off x="7853875" y="4220952"/>
            <a:ext cx="937899" cy="230832"/>
          </a:xfrm>
          <a:prstGeom prst="rect">
            <a:avLst/>
          </a:prstGeom>
        </p:spPr>
        <p:txBody>
          <a:bodyPr lIns="0" tIns="0" rIns="0" bIns="0">
            <a:noAutofit/>
          </a:bodyPr>
          <a:lstStyle>
            <a:lvl1pPr>
              <a:defRPr sz="1200"/>
            </a:lvl1pPr>
          </a:lstStyle>
          <a:p>
            <a:pPr lvl="0"/>
            <a:r>
              <a:rPr lang="en-US" dirty="0"/>
              <a:t>&lt;Tel.&gt;</a:t>
            </a:r>
          </a:p>
        </p:txBody>
      </p:sp>
      <p:sp>
        <p:nvSpPr>
          <p:cNvPr id="69" name="Textplatzhalter 28"/>
          <p:cNvSpPr>
            <a:spLocks noGrp="1"/>
          </p:cNvSpPr>
          <p:nvPr>
            <p:ph type="body" sz="quarter" idx="62" hasCustomPrompt="1"/>
          </p:nvPr>
        </p:nvSpPr>
        <p:spPr>
          <a:xfrm>
            <a:off x="7025462" y="4420172"/>
            <a:ext cx="3153993" cy="230832"/>
          </a:xfrm>
          <a:prstGeom prst="rect">
            <a:avLst/>
          </a:prstGeom>
        </p:spPr>
        <p:txBody>
          <a:bodyPr lIns="0" tIns="0" rIns="0" bIns="0">
            <a:noAutofit/>
          </a:bodyPr>
          <a:lstStyle>
            <a:lvl1pPr>
              <a:defRPr sz="1200"/>
            </a:lvl1pPr>
          </a:lstStyle>
          <a:p>
            <a:pPr lvl="0"/>
            <a:r>
              <a:rPr lang="en-US" dirty="0"/>
              <a:t>&lt;E-Mail&gt;</a:t>
            </a:r>
          </a:p>
        </p:txBody>
      </p:sp>
      <p:sp>
        <p:nvSpPr>
          <p:cNvPr id="70" name="Textplatzhalter 4"/>
          <p:cNvSpPr>
            <a:spLocks noGrp="1"/>
          </p:cNvSpPr>
          <p:nvPr>
            <p:ph type="body" sz="quarter" idx="63" hasCustomPrompt="1"/>
          </p:nvPr>
        </p:nvSpPr>
        <p:spPr>
          <a:xfrm>
            <a:off x="6384455" y="3537090"/>
            <a:ext cx="3876740" cy="230832"/>
          </a:xfrm>
          <a:prstGeom prst="rect">
            <a:avLst/>
          </a:prstGeom>
        </p:spPr>
        <p:txBody>
          <a:bodyPr lIns="0" tIns="0" rIns="0" bIns="0">
            <a:noAutofit/>
          </a:bodyPr>
          <a:lstStyle>
            <a:lvl1pPr>
              <a:defRPr sz="1200" b="1" baseline="0"/>
            </a:lvl1pPr>
          </a:lstStyle>
          <a:p>
            <a:pPr lvl="0"/>
            <a:r>
              <a:rPr lang="en-US" dirty="0"/>
              <a:t>Name Surname</a:t>
            </a:r>
          </a:p>
        </p:txBody>
      </p:sp>
      <p:sp>
        <p:nvSpPr>
          <p:cNvPr id="71" name="Textplatzhalter 4"/>
          <p:cNvSpPr>
            <a:spLocks noGrp="1"/>
          </p:cNvSpPr>
          <p:nvPr>
            <p:ph type="body" sz="quarter" idx="64" hasCustomPrompt="1"/>
          </p:nvPr>
        </p:nvSpPr>
        <p:spPr>
          <a:xfrm>
            <a:off x="6384455" y="3767922"/>
            <a:ext cx="3876740" cy="230832"/>
          </a:xfrm>
          <a:prstGeom prst="rect">
            <a:avLst/>
          </a:prstGeom>
        </p:spPr>
        <p:txBody>
          <a:bodyPr lIns="0" tIns="0" rIns="0" bIns="0">
            <a:noAutofit/>
          </a:bodyPr>
          <a:lstStyle>
            <a:lvl1pPr>
              <a:lnSpc>
                <a:spcPct val="110000"/>
              </a:lnSpc>
              <a:defRPr sz="1200" b="0" baseline="0"/>
            </a:lvl1pPr>
          </a:lstStyle>
          <a:p>
            <a:pPr lvl="0"/>
            <a:r>
              <a:rPr lang="en-US" dirty="0"/>
              <a:t>Research Team TG-XX or project task description</a:t>
            </a:r>
          </a:p>
        </p:txBody>
      </p:sp>
    </p:spTree>
    <p:extLst>
      <p:ext uri="{BB962C8B-B14F-4D97-AF65-F5344CB8AC3E}">
        <p14:creationId xmlns:p14="http://schemas.microsoft.com/office/powerpoint/2010/main" val="425565216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Referenten">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211790"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5" name="Textplatzhalter 4"/>
          <p:cNvSpPr>
            <a:spLocks noGrp="1"/>
          </p:cNvSpPr>
          <p:nvPr>
            <p:ph type="body" sz="quarter" idx="26" hasCustomPrompt="1"/>
          </p:nvPr>
        </p:nvSpPr>
        <p:spPr>
          <a:xfrm>
            <a:off x="2662423" y="2392034"/>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16" name="Textplatzhalter 4"/>
          <p:cNvSpPr>
            <a:spLocks noGrp="1"/>
          </p:cNvSpPr>
          <p:nvPr>
            <p:ph type="body" sz="quarter" idx="27" hasCustomPrompt="1"/>
          </p:nvPr>
        </p:nvSpPr>
        <p:spPr>
          <a:xfrm>
            <a:off x="2662423" y="2705162"/>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26" name="Textfeld 25"/>
          <p:cNvSpPr txBox="1"/>
          <p:nvPr userDrawn="1"/>
        </p:nvSpPr>
        <p:spPr>
          <a:xfrm>
            <a:off x="2653279" y="3018897"/>
            <a:ext cx="2244559"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 89 289</a:t>
            </a:r>
          </a:p>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Arial" charset="0"/>
              </a:rPr>
              <a:t>4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a:t>
            </a:r>
            <a:endParaRPr lang="de-DE" sz="1200" dirty="0"/>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33" name="Textplatzhalter 28"/>
          <p:cNvSpPr>
            <a:spLocks noGrp="1"/>
          </p:cNvSpPr>
          <p:nvPr>
            <p:ph type="body" sz="quarter" idx="24" hasCustomPrompt="1"/>
          </p:nvPr>
        </p:nvSpPr>
        <p:spPr>
          <a:xfrm>
            <a:off x="4094367" y="3018897"/>
            <a:ext cx="1027076" cy="230832"/>
          </a:xfrm>
          <a:prstGeom prst="rect">
            <a:avLst/>
          </a:prstGeom>
        </p:spPr>
        <p:txBody>
          <a:bodyPr lIns="0" tIns="0" rIns="0" bIns="0">
            <a:noAutofit/>
          </a:bodyPr>
          <a:lstStyle>
            <a:lvl1pPr>
              <a:defRPr sz="1200"/>
            </a:lvl1pPr>
          </a:lstStyle>
          <a:p>
            <a:pPr lvl="0"/>
            <a:r>
              <a:rPr lang="de-DE" dirty="0"/>
              <a:t>&lt;Tel.&gt;</a:t>
            </a:r>
          </a:p>
        </p:txBody>
      </p:sp>
      <p:sp>
        <p:nvSpPr>
          <p:cNvPr id="34" name="Textplatzhalter 28"/>
          <p:cNvSpPr>
            <a:spLocks noGrp="1"/>
          </p:cNvSpPr>
          <p:nvPr>
            <p:ph type="body" sz="quarter" idx="25" hasCustomPrompt="1"/>
          </p:nvPr>
        </p:nvSpPr>
        <p:spPr>
          <a:xfrm>
            <a:off x="3294284" y="3465173"/>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6" name="Gerader Verbinder 5"/>
          <p:cNvCxnSpPr/>
          <p:nvPr userDrawn="1"/>
        </p:nvCxnSpPr>
        <p:spPr>
          <a:xfrm>
            <a:off x="2671567" y="2659442"/>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8" name="Bildplatzhalter 49"/>
          <p:cNvSpPr>
            <a:spLocks noGrp="1"/>
          </p:cNvSpPr>
          <p:nvPr>
            <p:ph type="pic" sz="quarter" idx="42" hasCustomPrompt="1"/>
          </p:nvPr>
        </p:nvSpPr>
        <p:spPr>
          <a:xfrm>
            <a:off x="1155333" y="2362109"/>
            <a:ext cx="1078990" cy="1333895"/>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sp>
        <p:nvSpPr>
          <p:cNvPr id="20" name="Textplatzhalter 4"/>
          <p:cNvSpPr>
            <a:spLocks noGrp="1"/>
          </p:cNvSpPr>
          <p:nvPr>
            <p:ph type="body" sz="quarter" idx="43" hasCustomPrompt="1"/>
          </p:nvPr>
        </p:nvSpPr>
        <p:spPr>
          <a:xfrm>
            <a:off x="2662423" y="4255108"/>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21" name="Textplatzhalter 4"/>
          <p:cNvSpPr>
            <a:spLocks noGrp="1"/>
          </p:cNvSpPr>
          <p:nvPr>
            <p:ph type="body" sz="quarter" idx="44" hasCustomPrompt="1"/>
          </p:nvPr>
        </p:nvSpPr>
        <p:spPr>
          <a:xfrm>
            <a:off x="2662423" y="4568236"/>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22" name="Textfeld 21"/>
          <p:cNvSpPr txBox="1"/>
          <p:nvPr userDrawn="1"/>
        </p:nvSpPr>
        <p:spPr>
          <a:xfrm>
            <a:off x="2653279" y="4881971"/>
            <a:ext cx="2244559"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de-DE" sz="1200" dirty="0"/>
              <a:t>89 289</a:t>
            </a:r>
          </a:p>
          <a:p>
            <a:pPr marL="0" marR="0" lvl="0" indent="0" algn="l" defTabSz="449263" rtl="0" eaLnBrk="1" fontAlgn="base" latinLnBrk="0" hangingPunct="1">
              <a:lnSpc>
                <a:spcPct val="110000"/>
              </a:lnSpc>
              <a:spcBef>
                <a:spcPct val="0"/>
              </a:spcBef>
              <a:spcAft>
                <a:spcPct val="0"/>
              </a:spcAft>
              <a:buClrTx/>
              <a:buSzTx/>
              <a:buFontTx/>
              <a:buNone/>
              <a:tabLst>
                <a:tab pos="628650" algn="l"/>
              </a:tabLst>
              <a:defRPr/>
            </a:pP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Arial" charset="0"/>
              </a:rPr>
              <a:t>4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a:t>
            </a:r>
            <a:endParaRPr lang="de-DE" sz="1200" dirty="0"/>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23" name="Textplatzhalter 28"/>
          <p:cNvSpPr>
            <a:spLocks noGrp="1"/>
          </p:cNvSpPr>
          <p:nvPr>
            <p:ph type="body" sz="quarter" idx="45" hasCustomPrompt="1"/>
          </p:nvPr>
        </p:nvSpPr>
        <p:spPr>
          <a:xfrm>
            <a:off x="4094367" y="4881971"/>
            <a:ext cx="937899" cy="230832"/>
          </a:xfrm>
          <a:prstGeom prst="rect">
            <a:avLst/>
          </a:prstGeom>
        </p:spPr>
        <p:txBody>
          <a:bodyPr lIns="0" tIns="0" rIns="0" bIns="0">
            <a:noAutofit/>
          </a:bodyPr>
          <a:lstStyle>
            <a:lvl1pPr>
              <a:defRPr sz="1200"/>
            </a:lvl1pPr>
          </a:lstStyle>
          <a:p>
            <a:pPr lvl="0"/>
            <a:r>
              <a:rPr lang="de-DE" dirty="0"/>
              <a:t>&lt;Tel.&gt;</a:t>
            </a:r>
          </a:p>
        </p:txBody>
      </p:sp>
      <p:sp>
        <p:nvSpPr>
          <p:cNvPr id="24" name="Textplatzhalter 28"/>
          <p:cNvSpPr>
            <a:spLocks noGrp="1"/>
          </p:cNvSpPr>
          <p:nvPr>
            <p:ph type="body" sz="quarter" idx="46" hasCustomPrompt="1"/>
          </p:nvPr>
        </p:nvSpPr>
        <p:spPr>
          <a:xfrm>
            <a:off x="3294284" y="5328247"/>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25" name="Gerader Verbinder 24"/>
          <p:cNvCxnSpPr/>
          <p:nvPr userDrawn="1"/>
        </p:nvCxnSpPr>
        <p:spPr>
          <a:xfrm>
            <a:off x="2671567" y="4522516"/>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Bildplatzhalter 49"/>
          <p:cNvSpPr>
            <a:spLocks noGrp="1"/>
          </p:cNvSpPr>
          <p:nvPr>
            <p:ph type="pic" sz="quarter" idx="47" hasCustomPrompt="1"/>
          </p:nvPr>
        </p:nvSpPr>
        <p:spPr>
          <a:xfrm>
            <a:off x="1155333" y="4225183"/>
            <a:ext cx="1078990" cy="1333895"/>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pic>
        <p:nvPicPr>
          <p:cNvPr id="28"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29" name="Textfeld 28"/>
          <p:cNvSpPr txBox="1"/>
          <p:nvPr userDrawn="1"/>
        </p:nvSpPr>
        <p:spPr>
          <a:xfrm>
            <a:off x="432590" y="6575889"/>
            <a:ext cx="5163999" cy="144655"/>
          </a:xfrm>
          <a:prstGeom prst="rect">
            <a:avLst/>
          </a:prstGeom>
          <a:noFill/>
        </p:spPr>
        <p:txBody>
          <a:bodyPr wrap="square" lIns="0" tIns="0" rIns="0" bIns="0" rtlCol="0">
            <a:spAutoFit/>
          </a:bodyPr>
          <a:lstStyle/>
          <a:p>
            <a:pPr algn="l">
              <a:lnSpc>
                <a:spcPct val="114000"/>
              </a:lnSpc>
            </a:pPr>
            <a:r>
              <a:rPr lang="en-US" sz="900" b="0" i="0" dirty="0">
                <a:solidFill>
                  <a:schemeClr val="tx1"/>
                </a:solidFill>
                <a:latin typeface="+mn-lt"/>
              </a:rPr>
              <a:t>© </a:t>
            </a:r>
            <a:r>
              <a:rPr lang="en-US" sz="900" b="0" i="1" dirty="0">
                <a:solidFill>
                  <a:schemeClr val="tx1"/>
                </a:solidFill>
                <a:latin typeface="+mn-lt"/>
              </a:rPr>
              <a:t>iwb</a:t>
            </a:r>
            <a:r>
              <a:rPr lang="en-US" sz="900" b="0" i="0" baseline="0" dirty="0">
                <a:solidFill>
                  <a:schemeClr val="tx1"/>
                </a:solidFill>
                <a:latin typeface="+mn-lt"/>
              </a:rPr>
              <a:t> – </a:t>
            </a:r>
            <a:r>
              <a:rPr lang="en-US" sz="900" b="0" dirty="0">
                <a:solidFill>
                  <a:schemeClr val="tx1"/>
                </a:solidFill>
                <a:latin typeface="+mn-lt"/>
              </a:rPr>
              <a:t>Institute for Machine Tools and Industrial Management</a:t>
            </a:r>
          </a:p>
        </p:txBody>
      </p:sp>
    </p:spTree>
    <p:extLst>
      <p:ext uri="{BB962C8B-B14F-4D97-AF65-F5344CB8AC3E}">
        <p14:creationId xmlns:p14="http://schemas.microsoft.com/office/powerpoint/2010/main" val="350405421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Referenten">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211790"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pic>
        <p:nvPicPr>
          <p:cNvPr id="28"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45" name="Textplatzhalter 4"/>
          <p:cNvSpPr>
            <a:spLocks noGrp="1"/>
          </p:cNvSpPr>
          <p:nvPr>
            <p:ph type="body" sz="quarter" idx="48" hasCustomPrompt="1"/>
          </p:nvPr>
        </p:nvSpPr>
        <p:spPr>
          <a:xfrm>
            <a:off x="2662423" y="2162715"/>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46" name="Textplatzhalter 4"/>
          <p:cNvSpPr>
            <a:spLocks noGrp="1"/>
          </p:cNvSpPr>
          <p:nvPr>
            <p:ph type="body" sz="quarter" idx="49" hasCustomPrompt="1"/>
          </p:nvPr>
        </p:nvSpPr>
        <p:spPr>
          <a:xfrm>
            <a:off x="2662423" y="2475843"/>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47" name="Textfeld 46"/>
          <p:cNvSpPr txBox="1"/>
          <p:nvPr userDrawn="1"/>
        </p:nvSpPr>
        <p:spPr>
          <a:xfrm>
            <a:off x="2653279" y="2789578"/>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de-DE" sz="1200" dirty="0"/>
              <a:t>89 289</a:t>
            </a:r>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48" name="Textplatzhalter 28"/>
          <p:cNvSpPr>
            <a:spLocks noGrp="1"/>
          </p:cNvSpPr>
          <p:nvPr>
            <p:ph type="body" sz="quarter" idx="50" hasCustomPrompt="1"/>
          </p:nvPr>
        </p:nvSpPr>
        <p:spPr>
          <a:xfrm>
            <a:off x="4094367" y="2789578"/>
            <a:ext cx="937899" cy="230832"/>
          </a:xfrm>
          <a:prstGeom prst="rect">
            <a:avLst/>
          </a:prstGeom>
        </p:spPr>
        <p:txBody>
          <a:bodyPr lIns="0" tIns="0" rIns="0" bIns="0">
            <a:noAutofit/>
          </a:bodyPr>
          <a:lstStyle>
            <a:lvl1pPr>
              <a:defRPr sz="1200"/>
            </a:lvl1pPr>
          </a:lstStyle>
          <a:p>
            <a:pPr lvl="0"/>
            <a:r>
              <a:rPr lang="de-DE" dirty="0"/>
              <a:t>&lt;Tel.&gt;</a:t>
            </a:r>
          </a:p>
        </p:txBody>
      </p:sp>
      <p:sp>
        <p:nvSpPr>
          <p:cNvPr id="49" name="Textplatzhalter 28"/>
          <p:cNvSpPr>
            <a:spLocks noGrp="1"/>
          </p:cNvSpPr>
          <p:nvPr>
            <p:ph type="body" sz="quarter" idx="51" hasCustomPrompt="1"/>
          </p:nvPr>
        </p:nvSpPr>
        <p:spPr>
          <a:xfrm>
            <a:off x="3294284" y="2981854"/>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50" name="Gerader Verbinder 49"/>
          <p:cNvCxnSpPr/>
          <p:nvPr userDrawn="1"/>
        </p:nvCxnSpPr>
        <p:spPr>
          <a:xfrm>
            <a:off x="2671567" y="2430123"/>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1" name="Bildplatzhalter 49"/>
          <p:cNvSpPr>
            <a:spLocks noGrp="1"/>
          </p:cNvSpPr>
          <p:nvPr>
            <p:ph type="pic" sz="quarter" idx="52" hasCustomPrompt="1"/>
          </p:nvPr>
        </p:nvSpPr>
        <p:spPr>
          <a:xfrm>
            <a:off x="1155333" y="2132790"/>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
        <p:nvSpPr>
          <p:cNvPr id="68" name="Textplatzhalter 4"/>
          <p:cNvSpPr>
            <a:spLocks noGrp="1"/>
          </p:cNvSpPr>
          <p:nvPr>
            <p:ph type="body" sz="quarter" idx="58" hasCustomPrompt="1"/>
          </p:nvPr>
        </p:nvSpPr>
        <p:spPr>
          <a:xfrm>
            <a:off x="2662423" y="3511625"/>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69" name="Textplatzhalter 4"/>
          <p:cNvSpPr>
            <a:spLocks noGrp="1"/>
          </p:cNvSpPr>
          <p:nvPr>
            <p:ph type="body" sz="quarter" idx="59" hasCustomPrompt="1"/>
          </p:nvPr>
        </p:nvSpPr>
        <p:spPr>
          <a:xfrm>
            <a:off x="2662423" y="3824753"/>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70" name="Textfeld 69"/>
          <p:cNvSpPr txBox="1"/>
          <p:nvPr userDrawn="1"/>
        </p:nvSpPr>
        <p:spPr>
          <a:xfrm>
            <a:off x="2653279" y="4138488"/>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de-DE" sz="1200" dirty="0"/>
              <a:t>89 289</a:t>
            </a:r>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71" name="Textplatzhalter 28"/>
          <p:cNvSpPr>
            <a:spLocks noGrp="1"/>
          </p:cNvSpPr>
          <p:nvPr>
            <p:ph type="body" sz="quarter" idx="60" hasCustomPrompt="1"/>
          </p:nvPr>
        </p:nvSpPr>
        <p:spPr>
          <a:xfrm>
            <a:off x="4094367" y="4138488"/>
            <a:ext cx="937899" cy="230832"/>
          </a:xfrm>
          <a:prstGeom prst="rect">
            <a:avLst/>
          </a:prstGeom>
        </p:spPr>
        <p:txBody>
          <a:bodyPr lIns="0" tIns="0" rIns="0" bIns="0">
            <a:noAutofit/>
          </a:bodyPr>
          <a:lstStyle>
            <a:lvl1pPr>
              <a:defRPr sz="1200"/>
            </a:lvl1pPr>
          </a:lstStyle>
          <a:p>
            <a:pPr lvl="0"/>
            <a:r>
              <a:rPr lang="de-DE" dirty="0"/>
              <a:t>&lt;Tel.&gt;</a:t>
            </a:r>
          </a:p>
        </p:txBody>
      </p:sp>
      <p:sp>
        <p:nvSpPr>
          <p:cNvPr id="72" name="Textplatzhalter 28"/>
          <p:cNvSpPr>
            <a:spLocks noGrp="1"/>
          </p:cNvSpPr>
          <p:nvPr>
            <p:ph type="body" sz="quarter" idx="61" hasCustomPrompt="1"/>
          </p:nvPr>
        </p:nvSpPr>
        <p:spPr>
          <a:xfrm>
            <a:off x="3294284" y="4330764"/>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73" name="Gerader Verbinder 72"/>
          <p:cNvCxnSpPr/>
          <p:nvPr userDrawn="1"/>
        </p:nvCxnSpPr>
        <p:spPr>
          <a:xfrm>
            <a:off x="2671567" y="3779033"/>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4" name="Bildplatzhalter 49"/>
          <p:cNvSpPr>
            <a:spLocks noGrp="1"/>
          </p:cNvSpPr>
          <p:nvPr>
            <p:ph type="pic" sz="quarter" idx="62" hasCustomPrompt="1"/>
          </p:nvPr>
        </p:nvSpPr>
        <p:spPr>
          <a:xfrm>
            <a:off x="1155333" y="3481700"/>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
        <p:nvSpPr>
          <p:cNvPr id="82" name="Textplatzhalter 4"/>
          <p:cNvSpPr>
            <a:spLocks noGrp="1"/>
          </p:cNvSpPr>
          <p:nvPr>
            <p:ph type="body" sz="quarter" idx="63" hasCustomPrompt="1"/>
          </p:nvPr>
        </p:nvSpPr>
        <p:spPr>
          <a:xfrm>
            <a:off x="2662423" y="4903067"/>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83" name="Textplatzhalter 4"/>
          <p:cNvSpPr>
            <a:spLocks noGrp="1"/>
          </p:cNvSpPr>
          <p:nvPr>
            <p:ph type="body" sz="quarter" idx="64" hasCustomPrompt="1"/>
          </p:nvPr>
        </p:nvSpPr>
        <p:spPr>
          <a:xfrm>
            <a:off x="2662423" y="5216195"/>
            <a:ext cx="3876740" cy="230832"/>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p:txBody>
      </p:sp>
      <p:sp>
        <p:nvSpPr>
          <p:cNvPr id="84" name="Textfeld 83"/>
          <p:cNvSpPr txBox="1"/>
          <p:nvPr userDrawn="1"/>
        </p:nvSpPr>
        <p:spPr>
          <a:xfrm>
            <a:off x="2653279" y="5529930"/>
            <a:ext cx="2244559" cy="406265"/>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a:t>
            </a:r>
            <a:r>
              <a:rPr lang="de-DE" sz="1200" baseline="0" dirty="0"/>
              <a:t> </a:t>
            </a:r>
            <a:r>
              <a:rPr lang="de-DE" sz="1200" dirty="0"/>
              <a:t>89 289</a:t>
            </a:r>
          </a:p>
          <a:p>
            <a:pPr defTabSz="449263">
              <a:lnSpc>
                <a:spcPct val="110000"/>
              </a:lnSpc>
              <a:tabLst>
                <a:tab pos="806450" algn="l"/>
              </a:tabLst>
            </a:pPr>
            <a:r>
              <a:rPr lang="de-DE" sz="1200" b="1" dirty="0">
                <a:solidFill>
                  <a:schemeClr val="bg2"/>
                </a:solidFill>
                <a:latin typeface="Wingdings" pitchFamily="2" charset="2"/>
              </a:rPr>
              <a:t>*</a:t>
            </a:r>
            <a:r>
              <a:rPr lang="de-DE" sz="1200" dirty="0">
                <a:solidFill>
                  <a:schemeClr val="accent6"/>
                </a:solidFill>
                <a:latin typeface="Wingdings" pitchFamily="2" charset="2"/>
              </a:rPr>
              <a:t> </a:t>
            </a:r>
            <a:r>
              <a:rPr lang="de-DE" sz="1200" dirty="0"/>
              <a:t>	</a:t>
            </a:r>
          </a:p>
        </p:txBody>
      </p:sp>
      <p:sp>
        <p:nvSpPr>
          <p:cNvPr id="85" name="Textplatzhalter 28"/>
          <p:cNvSpPr>
            <a:spLocks noGrp="1"/>
          </p:cNvSpPr>
          <p:nvPr>
            <p:ph type="body" sz="quarter" idx="65" hasCustomPrompt="1"/>
          </p:nvPr>
        </p:nvSpPr>
        <p:spPr>
          <a:xfrm>
            <a:off x="4094367" y="5529930"/>
            <a:ext cx="937899" cy="230832"/>
          </a:xfrm>
          <a:prstGeom prst="rect">
            <a:avLst/>
          </a:prstGeom>
        </p:spPr>
        <p:txBody>
          <a:bodyPr lIns="0" tIns="0" rIns="0" bIns="0">
            <a:noAutofit/>
          </a:bodyPr>
          <a:lstStyle>
            <a:lvl1pPr>
              <a:defRPr sz="1200"/>
            </a:lvl1pPr>
          </a:lstStyle>
          <a:p>
            <a:pPr lvl="0"/>
            <a:r>
              <a:rPr lang="de-DE" dirty="0"/>
              <a:t>&lt;Tel.&gt;</a:t>
            </a:r>
          </a:p>
        </p:txBody>
      </p:sp>
      <p:sp>
        <p:nvSpPr>
          <p:cNvPr id="86" name="Textplatzhalter 28"/>
          <p:cNvSpPr>
            <a:spLocks noGrp="1"/>
          </p:cNvSpPr>
          <p:nvPr>
            <p:ph type="body" sz="quarter" idx="66" hasCustomPrompt="1"/>
          </p:nvPr>
        </p:nvSpPr>
        <p:spPr>
          <a:xfrm>
            <a:off x="3294284" y="5722206"/>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87" name="Gerader Verbinder 86"/>
          <p:cNvCxnSpPr/>
          <p:nvPr userDrawn="1"/>
        </p:nvCxnSpPr>
        <p:spPr>
          <a:xfrm>
            <a:off x="2671567" y="5170475"/>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88" name="Bildplatzhalter 49"/>
          <p:cNvSpPr>
            <a:spLocks noGrp="1"/>
          </p:cNvSpPr>
          <p:nvPr>
            <p:ph type="pic" sz="quarter" idx="67" hasCustomPrompt="1"/>
          </p:nvPr>
        </p:nvSpPr>
        <p:spPr>
          <a:xfrm>
            <a:off x="1155333" y="4873142"/>
            <a:ext cx="863192" cy="1067116"/>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73152" tIns="36576" rIns="73152" bIns="36576"/>
          <a:lstStyle>
            <a:lvl1pPr marL="0" indent="0">
              <a:defRPr sz="720"/>
            </a:lvl1pPr>
          </a:lstStyle>
          <a:p>
            <a:r>
              <a:rPr lang="de-DE" dirty="0"/>
              <a:t>Kontaktbild</a:t>
            </a:r>
          </a:p>
        </p:txBody>
      </p:sp>
      <p:sp>
        <p:nvSpPr>
          <p:cNvPr id="29" name="Textfeld 28"/>
          <p:cNvSpPr txBox="1"/>
          <p:nvPr userDrawn="1"/>
        </p:nvSpPr>
        <p:spPr>
          <a:xfrm>
            <a:off x="432590" y="6575889"/>
            <a:ext cx="5163999" cy="144655"/>
          </a:xfrm>
          <a:prstGeom prst="rect">
            <a:avLst/>
          </a:prstGeom>
          <a:noFill/>
        </p:spPr>
        <p:txBody>
          <a:bodyPr wrap="square" lIns="0" tIns="0" rIns="0" bIns="0" rtlCol="0">
            <a:spAutoFit/>
          </a:bodyPr>
          <a:lstStyle/>
          <a:p>
            <a:pPr algn="l">
              <a:lnSpc>
                <a:spcPct val="114000"/>
              </a:lnSpc>
            </a:pPr>
            <a:r>
              <a:rPr lang="en-US" sz="900" b="0" i="0" dirty="0">
                <a:solidFill>
                  <a:schemeClr val="tx1"/>
                </a:solidFill>
                <a:latin typeface="+mn-lt"/>
              </a:rPr>
              <a:t>© </a:t>
            </a:r>
            <a:r>
              <a:rPr lang="en-US" sz="900" b="0" i="1" dirty="0">
                <a:solidFill>
                  <a:schemeClr val="tx1"/>
                </a:solidFill>
                <a:latin typeface="+mn-lt"/>
              </a:rPr>
              <a:t>iwb</a:t>
            </a:r>
            <a:r>
              <a:rPr lang="en-US" sz="900" b="0" i="0" baseline="0" dirty="0">
                <a:solidFill>
                  <a:schemeClr val="tx1"/>
                </a:solidFill>
                <a:latin typeface="+mn-lt"/>
              </a:rPr>
              <a:t> – </a:t>
            </a:r>
            <a:r>
              <a:rPr lang="en-US" sz="900" b="0" dirty="0">
                <a:solidFill>
                  <a:schemeClr val="tx1"/>
                </a:solidFill>
                <a:latin typeface="+mn-lt"/>
              </a:rPr>
              <a:t>Institute for Machine Tools and Industrial Management</a:t>
            </a:r>
          </a:p>
        </p:txBody>
      </p:sp>
    </p:spTree>
    <p:extLst>
      <p:ext uri="{BB962C8B-B14F-4D97-AF65-F5344CB8AC3E}">
        <p14:creationId xmlns:p14="http://schemas.microsoft.com/office/powerpoint/2010/main" val="133346577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Referenten">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2" cstate="email">
            <a:extLst>
              <a:ext uri="{28A0092B-C50C-407E-A947-70E740481C1C}">
                <a14:useLocalDpi xmlns:a14="http://schemas.microsoft.com/office/drawing/2010/main"/>
              </a:ext>
            </a:extLst>
          </a:blip>
          <a:srcRect r="18495"/>
          <a:stretch/>
        </p:blipFill>
        <p:spPr>
          <a:xfrm>
            <a:off x="3797116" y="0"/>
            <a:ext cx="8394884" cy="6858000"/>
          </a:xfrm>
          <a:prstGeom prst="rect">
            <a:avLst/>
          </a:prstGeom>
        </p:spPr>
      </p:pic>
      <p:sp>
        <p:nvSpPr>
          <p:cNvPr id="57" name="Rechteck 56"/>
          <p:cNvSpPr/>
          <p:nvPr userDrawn="1"/>
        </p:nvSpPr>
        <p:spPr bwMode="auto">
          <a:xfrm>
            <a:off x="-19790" y="-27432"/>
            <a:ext cx="12311027" cy="6894000"/>
          </a:xfrm>
          <a:prstGeom prst="rect">
            <a:avLst/>
          </a:prstGeom>
          <a:gradFill flip="none" rotWithShape="1">
            <a:gsLst>
              <a:gs pos="61000">
                <a:srgbClr val="FFFFFF">
                  <a:alpha val="87000"/>
                </a:srgbClr>
              </a:gs>
              <a:gs pos="37000">
                <a:schemeClr val="bg1"/>
              </a:gs>
              <a:gs pos="78000">
                <a:srgbClr val="FFFFFF">
                  <a:alpha val="45000"/>
                </a:srgbClr>
              </a:gs>
              <a:gs pos="100000">
                <a:schemeClr val="bg1">
                  <a:alpha val="0"/>
                </a:schemeClr>
              </a:gs>
            </a:gsLst>
            <a:lin ang="0" scaled="1"/>
            <a:tileRect/>
          </a:gradFill>
          <a:ln w="1079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err="1">
              <a:ln>
                <a:noFill/>
              </a:ln>
              <a:solidFill>
                <a:schemeClr val="bg1"/>
              </a:solidFill>
              <a:effectLst/>
              <a:latin typeface="Arial" charset="0"/>
            </a:endParaRPr>
          </a:p>
        </p:txBody>
      </p:sp>
      <p:sp>
        <p:nvSpPr>
          <p:cNvPr id="4" name="Titel 1"/>
          <p:cNvSpPr>
            <a:spLocks noGrp="1"/>
          </p:cNvSpPr>
          <p:nvPr>
            <p:ph type="title" hasCustomPrompt="1"/>
          </p:nvPr>
        </p:nvSpPr>
        <p:spPr>
          <a:xfrm>
            <a:off x="425456" y="343459"/>
            <a:ext cx="10501623"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de-DE" noProof="0" dirty="0"/>
              <a:t>Hauptaussage der Folie (Action Title) durch Klicken bearbeiten</a:t>
            </a:r>
          </a:p>
        </p:txBody>
      </p:sp>
      <p:sp>
        <p:nvSpPr>
          <p:cNvPr id="5" name="Textplatzhalter 7"/>
          <p:cNvSpPr>
            <a:spLocks noGrp="1"/>
          </p:cNvSpPr>
          <p:nvPr>
            <p:ph type="body" sz="quarter" idx="13" hasCustomPrompt="1"/>
          </p:nvPr>
        </p:nvSpPr>
        <p:spPr>
          <a:xfrm>
            <a:off x="425455" y="1237737"/>
            <a:ext cx="10501624" cy="301504"/>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de-DE" noProof="0" dirty="0"/>
              <a:t>Gliederung / Thema / Kapitelname durch Klicken bearbeiten</a:t>
            </a:r>
          </a:p>
        </p:txBody>
      </p:sp>
      <p:sp>
        <p:nvSpPr>
          <p:cNvPr id="15" name="Textplatzhalter 4"/>
          <p:cNvSpPr>
            <a:spLocks noGrp="1"/>
          </p:cNvSpPr>
          <p:nvPr>
            <p:ph type="body" sz="quarter" idx="26" hasCustomPrompt="1"/>
          </p:nvPr>
        </p:nvSpPr>
        <p:spPr>
          <a:xfrm>
            <a:off x="2689855" y="2845314"/>
            <a:ext cx="3876740" cy="230832"/>
          </a:xfrm>
          <a:prstGeom prst="rect">
            <a:avLst/>
          </a:prstGeom>
        </p:spPr>
        <p:txBody>
          <a:bodyPr lIns="0" tIns="0" rIns="0" bIns="0">
            <a:noAutofit/>
          </a:bodyPr>
          <a:lstStyle>
            <a:lvl1pPr>
              <a:defRPr sz="1200" b="1" baseline="0">
                <a:solidFill>
                  <a:schemeClr val="bg2"/>
                </a:solidFill>
              </a:defRPr>
            </a:lvl1pPr>
          </a:lstStyle>
          <a:p>
            <a:pPr lvl="0"/>
            <a:r>
              <a:rPr lang="de-DE" dirty="0"/>
              <a:t>Vorname Nachname</a:t>
            </a:r>
          </a:p>
        </p:txBody>
      </p:sp>
      <p:sp>
        <p:nvSpPr>
          <p:cNvPr id="16" name="Textplatzhalter 4"/>
          <p:cNvSpPr>
            <a:spLocks noGrp="1"/>
          </p:cNvSpPr>
          <p:nvPr>
            <p:ph type="body" sz="quarter" idx="27" hasCustomPrompt="1"/>
          </p:nvPr>
        </p:nvSpPr>
        <p:spPr>
          <a:xfrm>
            <a:off x="2689855" y="3158442"/>
            <a:ext cx="4113282" cy="252293"/>
          </a:xfrm>
          <a:prstGeom prst="rect">
            <a:avLst/>
          </a:prstGeom>
        </p:spPr>
        <p:txBody>
          <a:bodyPr lIns="0" tIns="0" rIns="0" bIns="0">
            <a:noAutofit/>
          </a:bodyPr>
          <a:lstStyle>
            <a:lvl1pPr>
              <a:lnSpc>
                <a:spcPct val="110000"/>
              </a:lnSpc>
              <a:defRPr sz="1200" b="0" baseline="0">
                <a:solidFill>
                  <a:srgbClr val="999999"/>
                </a:solidFill>
              </a:defRPr>
            </a:lvl1pPr>
          </a:lstStyle>
          <a:p>
            <a:pPr lvl="0"/>
            <a:r>
              <a:rPr lang="de-DE" dirty="0"/>
              <a:t>Abteilung TG-XX oder Zuständigkeit im Projekt</a:t>
            </a:r>
          </a:p>
          <a:p>
            <a:pPr lvl="0"/>
            <a:endParaRPr lang="de-DE" dirty="0"/>
          </a:p>
        </p:txBody>
      </p:sp>
      <p:sp>
        <p:nvSpPr>
          <p:cNvPr id="26" name="Textfeld 25"/>
          <p:cNvSpPr txBox="1"/>
          <p:nvPr userDrawn="1"/>
        </p:nvSpPr>
        <p:spPr>
          <a:xfrm>
            <a:off x="2689855" y="4118587"/>
            <a:ext cx="2085345" cy="677108"/>
          </a:xfrm>
          <a:prstGeom prst="rect">
            <a:avLst/>
          </a:prstGeom>
          <a:noFill/>
        </p:spPr>
        <p:txBody>
          <a:bodyPr wrap="square" lIns="0" tIns="0" rIns="0" bIns="0" rtlCol="0">
            <a:spAutoFit/>
          </a:bodyPr>
          <a:lstStyle/>
          <a:p>
            <a:pPr defTabSz="449263">
              <a:lnSpc>
                <a:spcPct val="110000"/>
              </a:lnSpc>
              <a:tabLst>
                <a:tab pos="628650" algn="l"/>
              </a:tabLst>
            </a:pPr>
            <a:r>
              <a:rPr lang="de-DE" sz="1200" dirty="0">
                <a:solidFill>
                  <a:schemeClr val="bg2"/>
                </a:solidFill>
                <a:latin typeface="Wingdings" pitchFamily="2" charset="2"/>
              </a:rPr>
              <a:t>(</a:t>
            </a:r>
            <a:r>
              <a:rPr lang="de-DE" sz="1200" dirty="0">
                <a:solidFill>
                  <a:schemeClr val="accent6"/>
                </a:solidFill>
                <a:latin typeface="Wingdings" pitchFamily="2" charset="2"/>
              </a:rPr>
              <a:t> </a:t>
            </a:r>
            <a:r>
              <a:rPr lang="de-DE" sz="1200" b="0" dirty="0"/>
              <a:t>	</a:t>
            </a:r>
            <a:r>
              <a:rPr lang="de-DE" sz="1200" dirty="0"/>
              <a:t>+49 89 289</a:t>
            </a:r>
          </a:p>
          <a:p>
            <a:pPr defTabSz="449263">
              <a:lnSpc>
                <a:spcPct val="110000"/>
              </a:lnSpc>
              <a:tabLst>
                <a:tab pos="628650" algn="l"/>
              </a:tabLst>
            </a:pPr>
            <a:r>
              <a:rPr kumimoji="0" lang="de-DE" sz="1400" b="0" i="0" u="none" strike="noStrike" kern="1200" cap="none" spc="0" normalizeH="0" baseline="0" noProof="0" dirty="0">
                <a:ln>
                  <a:noFill/>
                </a:ln>
                <a:solidFill>
                  <a:schemeClr val="bg2"/>
                </a:solidFill>
                <a:effectLst/>
                <a:uLnTx/>
                <a:uFillTx/>
                <a:latin typeface="Wingdings" pitchFamily="2" charset="2"/>
                <a:ea typeface="+mn-ea"/>
                <a:cs typeface="+mn-cs"/>
              </a:rPr>
              <a:t>4</a:t>
            </a:r>
            <a:r>
              <a:rPr kumimoji="0" lang="de-DE" sz="1600" b="0" i="0" u="none" strike="noStrike" kern="1200" cap="none" spc="0" normalizeH="0" baseline="0" noProof="0" dirty="0">
                <a:ln>
                  <a:noFill/>
                </a:ln>
                <a:solidFill>
                  <a:schemeClr val="bg2"/>
                </a:solidFill>
                <a:effectLst/>
                <a:uLnTx/>
                <a:uFillTx/>
                <a:latin typeface="Wingdings" pitchFamily="2" charset="2"/>
                <a:ea typeface="+mn-ea"/>
                <a:cs typeface="+mn-cs"/>
              </a:rPr>
              <a:t>	</a:t>
            </a:r>
            <a:r>
              <a:rPr kumimoji="0" lang="de-DE" sz="1200" b="0" i="0" u="none" strike="noStrike" kern="1200" cap="none" spc="0" normalizeH="0" baseline="0" noProof="0" dirty="0">
                <a:ln>
                  <a:noFill/>
                </a:ln>
                <a:solidFill>
                  <a:prstClr val="black"/>
                </a:solidFill>
                <a:effectLst/>
                <a:uLnTx/>
                <a:uFillTx/>
                <a:latin typeface="Arial" charset="0"/>
                <a:ea typeface="+mn-ea"/>
                <a:cs typeface="Arial" charset="0"/>
              </a:rPr>
              <a:t>+49 89 289 15555 </a:t>
            </a:r>
            <a:endParaRPr kumimoji="0" lang="de-DE" sz="1600" b="0" i="0" u="none" strike="noStrike" kern="1200" cap="none" spc="0" normalizeH="0" baseline="0" noProof="0" dirty="0">
              <a:ln>
                <a:noFill/>
              </a:ln>
              <a:solidFill>
                <a:schemeClr val="bg2"/>
              </a:solidFill>
              <a:effectLst/>
              <a:uLnTx/>
              <a:uFillTx/>
              <a:latin typeface="Wingdings" pitchFamily="2" charset="2"/>
              <a:ea typeface="+mn-ea"/>
              <a:cs typeface="+mn-cs"/>
            </a:endParaRPr>
          </a:p>
          <a:p>
            <a:pPr defTabSz="449263">
              <a:lnSpc>
                <a:spcPct val="110000"/>
              </a:lnSpc>
              <a:tabLst>
                <a:tab pos="628650" algn="l"/>
              </a:tabLst>
            </a:pPr>
            <a:r>
              <a:rPr lang="de-DE" sz="1200" b="1" dirty="0">
                <a:solidFill>
                  <a:schemeClr val="bg2"/>
                </a:solidFill>
                <a:latin typeface="Wingdings" pitchFamily="2" charset="2"/>
              </a:rPr>
              <a:t>*</a:t>
            </a:r>
          </a:p>
        </p:txBody>
      </p:sp>
      <p:sp>
        <p:nvSpPr>
          <p:cNvPr id="34" name="Textplatzhalter 28"/>
          <p:cNvSpPr>
            <a:spLocks noGrp="1"/>
          </p:cNvSpPr>
          <p:nvPr>
            <p:ph type="body" sz="quarter" idx="25" hasCustomPrompt="1"/>
          </p:nvPr>
        </p:nvSpPr>
        <p:spPr>
          <a:xfrm>
            <a:off x="3330860" y="4564863"/>
            <a:ext cx="3153993" cy="230832"/>
          </a:xfrm>
          <a:prstGeom prst="rect">
            <a:avLst/>
          </a:prstGeom>
        </p:spPr>
        <p:txBody>
          <a:bodyPr lIns="0" tIns="18000" rIns="0" bIns="0">
            <a:noAutofit/>
          </a:bodyPr>
          <a:lstStyle>
            <a:lvl1pPr>
              <a:defRPr sz="1200"/>
            </a:lvl1pPr>
          </a:lstStyle>
          <a:p>
            <a:pPr lvl="0"/>
            <a:r>
              <a:rPr lang="de-DE" dirty="0"/>
              <a:t>&lt;E-Mail&gt;</a:t>
            </a:r>
          </a:p>
        </p:txBody>
      </p:sp>
      <p:cxnSp>
        <p:nvCxnSpPr>
          <p:cNvPr id="6" name="Gerader Verbinder 5"/>
          <p:cNvCxnSpPr/>
          <p:nvPr userDrawn="1"/>
        </p:nvCxnSpPr>
        <p:spPr>
          <a:xfrm>
            <a:off x="2698999" y="3112722"/>
            <a:ext cx="4104000" cy="0"/>
          </a:xfrm>
          <a:prstGeom prst="line">
            <a:avLst/>
          </a:prstGeom>
          <a:ln>
            <a:gradFill>
              <a:gsLst>
                <a:gs pos="100000">
                  <a:schemeClr val="bg1"/>
                </a:gs>
                <a:gs pos="55000">
                  <a:srgbClr val="DFDFDF">
                    <a:alpha val="82000"/>
                  </a:srgbClr>
                </a:gs>
                <a:gs pos="1000">
                  <a:schemeClr val="bg1">
                    <a:lumMod val="75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8" name="Bildplatzhalter 49"/>
          <p:cNvSpPr>
            <a:spLocks noGrp="1"/>
          </p:cNvSpPr>
          <p:nvPr>
            <p:ph type="pic" sz="quarter" idx="42" hasCustomPrompt="1"/>
          </p:nvPr>
        </p:nvSpPr>
        <p:spPr>
          <a:xfrm>
            <a:off x="799606" y="2845314"/>
            <a:ext cx="1434717" cy="1950381"/>
          </a:xfrm>
          <a:prstGeom prst="rect">
            <a:avLst/>
          </a:prstGeom>
          <a:solidFill>
            <a:srgbClr val="D9DADB"/>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lstStyle>
            <a:lvl1pPr>
              <a:defRPr sz="900"/>
            </a:lvl1pPr>
          </a:lstStyle>
          <a:p>
            <a:r>
              <a:rPr lang="de-DE" dirty="0"/>
              <a:t>Kontaktbild</a:t>
            </a:r>
          </a:p>
        </p:txBody>
      </p:sp>
      <p:sp>
        <p:nvSpPr>
          <p:cNvPr id="2" name="Rechteck 1"/>
          <p:cNvSpPr/>
          <p:nvPr userDrawn="1"/>
        </p:nvSpPr>
        <p:spPr>
          <a:xfrm>
            <a:off x="2689854" y="3445130"/>
            <a:ext cx="4323359" cy="553998"/>
          </a:xfrm>
          <a:prstGeom prst="rect">
            <a:avLst/>
          </a:prstGeom>
        </p:spPr>
        <p:txBody>
          <a:bodyPr wrap="square" lIns="0" tIns="0" bIns="0">
            <a:spAutoFit/>
          </a:bodyPr>
          <a:lstStyle/>
          <a:p>
            <a:pPr lvl="0"/>
            <a:r>
              <a:rPr lang="de-DE" sz="1200" dirty="0"/>
              <a:t>Institut für Werkzeugmaschinen und Betriebswissenschaften</a:t>
            </a:r>
          </a:p>
          <a:p>
            <a:pPr lvl="0"/>
            <a:r>
              <a:rPr lang="de-DE" sz="1200" dirty="0"/>
              <a:t>Technische Universität München</a:t>
            </a:r>
          </a:p>
          <a:p>
            <a:pPr lvl="0"/>
            <a:r>
              <a:rPr lang="de-DE" sz="1200" dirty="0"/>
              <a:t>Boltzmannstraße 15, 85748 Garching</a:t>
            </a:r>
          </a:p>
        </p:txBody>
      </p:sp>
      <p:pic>
        <p:nvPicPr>
          <p:cNvPr id="14" name="Bild 3" descr="20150416 tum logo blau png final.png"/>
          <p:cNvPicPr>
            <a:picLocks noChangeAspect="1"/>
          </p:cNvPicPr>
          <p:nvPr userDrawn="1"/>
        </p:nvPicPr>
        <p:blipFill>
          <a:blip r:embed="rId3"/>
          <a:stretch>
            <a:fillRect/>
          </a:stretch>
        </p:blipFill>
        <p:spPr bwMode="black">
          <a:xfrm>
            <a:off x="11160665" y="324650"/>
            <a:ext cx="602472" cy="320400"/>
          </a:xfrm>
          <a:prstGeom prst="rect">
            <a:avLst/>
          </a:prstGeom>
        </p:spPr>
      </p:pic>
      <p:sp>
        <p:nvSpPr>
          <p:cNvPr id="27" name="Textplatzhalter 28"/>
          <p:cNvSpPr>
            <a:spLocks noGrp="1"/>
          </p:cNvSpPr>
          <p:nvPr>
            <p:ph type="body" sz="quarter" idx="49" hasCustomPrompt="1"/>
          </p:nvPr>
        </p:nvSpPr>
        <p:spPr>
          <a:xfrm>
            <a:off x="4124847" y="4118587"/>
            <a:ext cx="1027076" cy="230832"/>
          </a:xfrm>
          <a:prstGeom prst="rect">
            <a:avLst/>
          </a:prstGeom>
        </p:spPr>
        <p:txBody>
          <a:bodyPr lIns="0" tIns="0" rIns="0" bIns="0">
            <a:noAutofit/>
          </a:bodyPr>
          <a:lstStyle>
            <a:lvl1pPr>
              <a:defRPr sz="1200"/>
            </a:lvl1pPr>
          </a:lstStyle>
          <a:p>
            <a:pPr lvl="0"/>
            <a:r>
              <a:rPr lang="de-DE" dirty="0"/>
              <a:t>&lt;Tel.&gt;</a:t>
            </a:r>
          </a:p>
        </p:txBody>
      </p:sp>
      <p:sp>
        <p:nvSpPr>
          <p:cNvPr id="18" name="Textfeld 17"/>
          <p:cNvSpPr txBox="1"/>
          <p:nvPr userDrawn="1"/>
        </p:nvSpPr>
        <p:spPr>
          <a:xfrm>
            <a:off x="432590" y="6575889"/>
            <a:ext cx="5163999" cy="144655"/>
          </a:xfrm>
          <a:prstGeom prst="rect">
            <a:avLst/>
          </a:prstGeom>
          <a:noFill/>
        </p:spPr>
        <p:txBody>
          <a:bodyPr wrap="square" lIns="0" tIns="0" rIns="0" bIns="0" rtlCol="0">
            <a:spAutoFit/>
          </a:bodyPr>
          <a:lstStyle/>
          <a:p>
            <a:pPr algn="l">
              <a:lnSpc>
                <a:spcPct val="114000"/>
              </a:lnSpc>
            </a:pPr>
            <a:r>
              <a:rPr lang="en-US" sz="900" b="0" i="0" dirty="0">
                <a:solidFill>
                  <a:schemeClr val="tx1"/>
                </a:solidFill>
                <a:latin typeface="+mn-lt"/>
              </a:rPr>
              <a:t>© </a:t>
            </a:r>
            <a:r>
              <a:rPr lang="en-US" sz="900" b="0" i="1" dirty="0">
                <a:solidFill>
                  <a:schemeClr val="tx1"/>
                </a:solidFill>
                <a:latin typeface="+mn-lt"/>
              </a:rPr>
              <a:t>iwb</a:t>
            </a:r>
            <a:r>
              <a:rPr lang="en-US" sz="900" b="0" i="0" baseline="0" dirty="0">
                <a:solidFill>
                  <a:schemeClr val="tx1"/>
                </a:solidFill>
                <a:latin typeface="+mn-lt"/>
              </a:rPr>
              <a:t> – </a:t>
            </a:r>
            <a:r>
              <a:rPr lang="en-US" sz="900" b="0" dirty="0">
                <a:solidFill>
                  <a:schemeClr val="tx1"/>
                </a:solidFill>
                <a:latin typeface="+mn-lt"/>
              </a:rPr>
              <a:t>Institute for Machine Tools and Industrial Management</a:t>
            </a:r>
          </a:p>
        </p:txBody>
      </p:sp>
    </p:spTree>
    <p:extLst>
      <p:ext uri="{BB962C8B-B14F-4D97-AF65-F5344CB8AC3E}">
        <p14:creationId xmlns:p14="http://schemas.microsoft.com/office/powerpoint/2010/main" val="89624936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ontaktfolie WiMi">
    <p:spTree>
      <p:nvGrpSpPr>
        <p:cNvPr id="1" name=""/>
        <p:cNvGrpSpPr/>
        <p:nvPr/>
      </p:nvGrpSpPr>
      <p:grpSpPr>
        <a:xfrm>
          <a:off x="0" y="0"/>
          <a:ext cx="0" cy="0"/>
          <a:chOff x="0" y="0"/>
          <a:chExt cx="0" cy="0"/>
        </a:xfrm>
      </p:grpSpPr>
      <p:sp>
        <p:nvSpPr>
          <p:cNvPr id="57" name="Foliennummernplatzhalter 3"/>
          <p:cNvSpPr>
            <a:spLocks noGrp="1"/>
          </p:cNvSpPr>
          <p:nvPr>
            <p:ph type="sldNum" sz="quarter" idx="4"/>
          </p:nvPr>
        </p:nvSpPr>
        <p:spPr>
          <a:xfrm>
            <a:off x="11298419" y="6586188"/>
            <a:ext cx="461783" cy="140488"/>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en-US" smtClean="0"/>
              <a:pPr algn="r">
                <a:lnSpc>
                  <a:spcPct val="110000"/>
                </a:lnSpc>
              </a:pPr>
              <a:t>‹#›</a:t>
            </a:fld>
            <a:endParaRPr lang="en-US" dirty="0"/>
          </a:p>
        </p:txBody>
      </p:sp>
      <p:sp>
        <p:nvSpPr>
          <p:cNvPr id="14" name="Textfeld 13"/>
          <p:cNvSpPr txBox="1"/>
          <p:nvPr userDrawn="1"/>
        </p:nvSpPr>
        <p:spPr>
          <a:xfrm>
            <a:off x="1661613" y="4010882"/>
            <a:ext cx="1583510" cy="236988"/>
          </a:xfrm>
          <a:prstGeom prst="rect">
            <a:avLst/>
          </a:prstGeom>
          <a:noFill/>
        </p:spPr>
        <p:txBody>
          <a:bodyPr wrap="none" lIns="0" tIns="0" rIns="0" bIns="0" rtlCol="0">
            <a:spAutoFit/>
          </a:bodyPr>
          <a:lstStyle/>
          <a:p>
            <a:pPr>
              <a:lnSpc>
                <a:spcPct val="110000"/>
              </a:lnSpc>
            </a:pPr>
            <a:r>
              <a:rPr lang="en-US" sz="1400" dirty="0"/>
              <a:t>Research Associate</a:t>
            </a:r>
          </a:p>
        </p:txBody>
      </p:sp>
      <p:sp>
        <p:nvSpPr>
          <p:cNvPr id="15" name="Textfeld 14"/>
          <p:cNvSpPr txBox="1"/>
          <p:nvPr userDrawn="1"/>
        </p:nvSpPr>
        <p:spPr>
          <a:xfrm>
            <a:off x="4869060" y="2611194"/>
            <a:ext cx="1965694" cy="710964"/>
          </a:xfrm>
          <a:prstGeom prst="rect">
            <a:avLst/>
          </a:prstGeom>
          <a:noFill/>
        </p:spPr>
        <p:txBody>
          <a:bodyPr wrap="square" lIns="0" tIns="0" rIns="0" bIns="0" rtlCol="0">
            <a:spAutoFit/>
          </a:bodyPr>
          <a:lstStyle/>
          <a:p>
            <a:pPr>
              <a:lnSpc>
                <a:spcPct val="110000"/>
              </a:lnSpc>
            </a:pPr>
            <a:r>
              <a:rPr lang="en-US" sz="1400" dirty="0"/>
              <a:t>Institute for Machine Tools and Industrial Management</a:t>
            </a:r>
          </a:p>
        </p:txBody>
      </p:sp>
      <p:sp>
        <p:nvSpPr>
          <p:cNvPr id="16" name="Textfeld 15"/>
          <p:cNvSpPr txBox="1"/>
          <p:nvPr userDrawn="1"/>
        </p:nvSpPr>
        <p:spPr>
          <a:xfrm>
            <a:off x="4869059" y="3429532"/>
            <a:ext cx="1601400" cy="473976"/>
          </a:xfrm>
          <a:prstGeom prst="rect">
            <a:avLst/>
          </a:prstGeom>
          <a:noFill/>
        </p:spPr>
        <p:txBody>
          <a:bodyPr wrap="none" lIns="0" tIns="0" rIns="0" bIns="0" rtlCol="0">
            <a:spAutoFit/>
          </a:bodyPr>
          <a:lstStyle/>
          <a:p>
            <a:pPr>
              <a:lnSpc>
                <a:spcPct val="110000"/>
              </a:lnSpc>
            </a:pPr>
            <a:r>
              <a:rPr lang="en-US" sz="1400" dirty="0" err="1"/>
              <a:t>Boltzmannstraße</a:t>
            </a:r>
            <a:r>
              <a:rPr lang="en-US" sz="1400" dirty="0"/>
              <a:t> 15</a:t>
            </a:r>
          </a:p>
          <a:p>
            <a:pPr>
              <a:lnSpc>
                <a:spcPct val="110000"/>
              </a:lnSpc>
            </a:pPr>
            <a:r>
              <a:rPr lang="en-US" sz="1400" dirty="0"/>
              <a:t>85748 </a:t>
            </a:r>
            <a:r>
              <a:rPr lang="en-US" sz="1400" dirty="0" err="1"/>
              <a:t>Garching</a:t>
            </a:r>
            <a:endParaRPr lang="en-US" sz="1400" dirty="0"/>
          </a:p>
        </p:txBody>
      </p:sp>
      <p:sp>
        <p:nvSpPr>
          <p:cNvPr id="17" name="Textfeld 16"/>
          <p:cNvSpPr txBox="1"/>
          <p:nvPr userDrawn="1"/>
        </p:nvSpPr>
        <p:spPr>
          <a:xfrm>
            <a:off x="4869060" y="4010882"/>
            <a:ext cx="1899879" cy="473976"/>
          </a:xfrm>
          <a:prstGeom prst="rect">
            <a:avLst/>
          </a:prstGeom>
          <a:noFill/>
        </p:spPr>
        <p:txBody>
          <a:bodyPr wrap="none" lIns="0" tIns="0" rIns="0" bIns="0" rtlCol="0">
            <a:spAutoFit/>
          </a:bodyPr>
          <a:lstStyle/>
          <a:p>
            <a:pPr defTabSz="449263">
              <a:lnSpc>
                <a:spcPct val="110000"/>
              </a:lnSpc>
            </a:pPr>
            <a:r>
              <a:rPr lang="en-US" sz="1400" dirty="0"/>
              <a:t>Tel. 	+49.89.289.</a:t>
            </a:r>
          </a:p>
          <a:p>
            <a:pPr defTabSz="449263">
              <a:lnSpc>
                <a:spcPct val="110000"/>
              </a:lnSpc>
            </a:pPr>
            <a:r>
              <a:rPr lang="en-US" sz="1400" dirty="0"/>
              <a:t>Fax	+49.89.289.15555</a:t>
            </a:r>
          </a:p>
        </p:txBody>
      </p:sp>
      <p:sp>
        <p:nvSpPr>
          <p:cNvPr id="18" name="Rechteck 17"/>
          <p:cNvSpPr/>
          <p:nvPr userDrawn="1"/>
        </p:nvSpPr>
        <p:spPr>
          <a:xfrm>
            <a:off x="1169959" y="1347787"/>
            <a:ext cx="6804082" cy="4162426"/>
          </a:xfrm>
          <a:prstGeom prst="rect">
            <a:avLst/>
          </a:prstGeom>
          <a:noFill/>
          <a:ln w="9525" cap="flat" cmpd="sng" algn="ctr">
            <a:solidFill>
              <a:srgbClr val="5858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1" name="Textplatzhalter 4"/>
          <p:cNvSpPr>
            <a:spLocks noGrp="1"/>
          </p:cNvSpPr>
          <p:nvPr>
            <p:ph type="body" sz="quarter" idx="18" hasCustomPrompt="1"/>
          </p:nvPr>
        </p:nvSpPr>
        <p:spPr>
          <a:xfrm>
            <a:off x="1661613" y="3138141"/>
            <a:ext cx="2388474" cy="269304"/>
          </a:xfrm>
          <a:prstGeom prst="rect">
            <a:avLst/>
          </a:prstGeom>
        </p:spPr>
        <p:txBody>
          <a:bodyPr lIns="0" tIns="0" rIns="0" bIns="0">
            <a:noAutofit/>
          </a:bodyPr>
          <a:lstStyle>
            <a:lvl1pPr>
              <a:defRPr/>
            </a:lvl1pPr>
          </a:lstStyle>
          <a:p>
            <a:pPr lvl="0"/>
            <a:r>
              <a:rPr lang="en-US" dirty="0" err="1"/>
              <a:t>Akad</a:t>
            </a:r>
            <a:r>
              <a:rPr lang="en-US" dirty="0"/>
              <a:t>. Title</a:t>
            </a:r>
          </a:p>
        </p:txBody>
      </p:sp>
      <p:sp>
        <p:nvSpPr>
          <p:cNvPr id="32" name="Textplatzhalter 4"/>
          <p:cNvSpPr>
            <a:spLocks noGrp="1"/>
          </p:cNvSpPr>
          <p:nvPr>
            <p:ph type="body" sz="quarter" idx="19" hasCustomPrompt="1"/>
          </p:nvPr>
        </p:nvSpPr>
        <p:spPr>
          <a:xfrm>
            <a:off x="1661613" y="3371790"/>
            <a:ext cx="2388474" cy="269304"/>
          </a:xfrm>
          <a:prstGeom prst="rect">
            <a:avLst/>
          </a:prstGeom>
        </p:spPr>
        <p:txBody>
          <a:bodyPr lIns="0" tIns="0" rIns="0" bIns="0">
            <a:noAutofit/>
          </a:bodyPr>
          <a:lstStyle>
            <a:lvl1pPr>
              <a:defRPr sz="1600" b="1"/>
            </a:lvl1pPr>
          </a:lstStyle>
          <a:p>
            <a:pPr lvl="0"/>
            <a:r>
              <a:rPr lang="en-US" dirty="0"/>
              <a:t>Name Surname</a:t>
            </a:r>
          </a:p>
        </p:txBody>
      </p:sp>
      <p:sp>
        <p:nvSpPr>
          <p:cNvPr id="33" name="Textplatzhalter 28"/>
          <p:cNvSpPr>
            <a:spLocks noGrp="1"/>
          </p:cNvSpPr>
          <p:nvPr>
            <p:ph type="body" sz="quarter" idx="20" hasCustomPrompt="1"/>
          </p:nvPr>
        </p:nvSpPr>
        <p:spPr>
          <a:xfrm>
            <a:off x="6259352" y="4010882"/>
            <a:ext cx="703424" cy="269304"/>
          </a:xfrm>
          <a:prstGeom prst="rect">
            <a:avLst/>
          </a:prstGeom>
        </p:spPr>
        <p:txBody>
          <a:bodyPr lIns="0" tIns="0" rIns="0" bIns="0">
            <a:noAutofit/>
          </a:bodyPr>
          <a:lstStyle>
            <a:lvl1pPr>
              <a:defRPr sz="1400"/>
            </a:lvl1pPr>
          </a:lstStyle>
          <a:p>
            <a:pPr lvl="0"/>
            <a:r>
              <a:rPr lang="en-US" dirty="0"/>
              <a:t>&lt;Tel.&gt;</a:t>
            </a:r>
          </a:p>
        </p:txBody>
      </p:sp>
      <p:sp>
        <p:nvSpPr>
          <p:cNvPr id="34" name="Textplatzhalter 28"/>
          <p:cNvSpPr>
            <a:spLocks noGrp="1"/>
          </p:cNvSpPr>
          <p:nvPr>
            <p:ph type="body" sz="quarter" idx="21" hasCustomPrompt="1"/>
          </p:nvPr>
        </p:nvSpPr>
        <p:spPr>
          <a:xfrm>
            <a:off x="4869059" y="4569280"/>
            <a:ext cx="3046216" cy="269304"/>
          </a:xfrm>
          <a:prstGeom prst="rect">
            <a:avLst/>
          </a:prstGeom>
        </p:spPr>
        <p:txBody>
          <a:bodyPr lIns="0" tIns="0" rIns="0" bIns="0">
            <a:noAutofit/>
          </a:bodyPr>
          <a:lstStyle>
            <a:lvl1pPr>
              <a:defRPr sz="1400"/>
            </a:lvl1pPr>
          </a:lstStyle>
          <a:p>
            <a:pPr lvl="0"/>
            <a:r>
              <a:rPr lang="en-US" dirty="0"/>
              <a:t>&lt;E-Mail&gt;</a:t>
            </a:r>
          </a:p>
        </p:txBody>
      </p:sp>
      <p:sp>
        <p:nvSpPr>
          <p:cNvPr id="35" name="Textfeld 34"/>
          <p:cNvSpPr txBox="1"/>
          <p:nvPr userDrawn="1"/>
        </p:nvSpPr>
        <p:spPr>
          <a:xfrm>
            <a:off x="4869059" y="4832466"/>
            <a:ext cx="1294970" cy="236988"/>
          </a:xfrm>
          <a:prstGeom prst="rect">
            <a:avLst/>
          </a:prstGeom>
          <a:noFill/>
        </p:spPr>
        <p:txBody>
          <a:bodyPr wrap="none" lIns="0" tIns="0" rIns="0" bIns="0" rtlCol="0">
            <a:spAutoFit/>
          </a:bodyPr>
          <a:lstStyle/>
          <a:p>
            <a:pPr>
              <a:lnSpc>
                <a:spcPct val="110000"/>
              </a:lnSpc>
            </a:pPr>
            <a:r>
              <a:rPr lang="en-US" sz="1400" dirty="0"/>
              <a:t>www.iwb.tum.de</a:t>
            </a:r>
          </a:p>
        </p:txBody>
      </p:sp>
      <p:pic>
        <p:nvPicPr>
          <p:cNvPr id="19" name="Bild 6" descr="20150416 tum logo blau png final.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61613" y="1882272"/>
            <a:ext cx="921002" cy="485063"/>
          </a:xfrm>
          <a:prstGeom prst="rect">
            <a:avLst/>
          </a:prstGeom>
        </p:spPr>
      </p:pic>
    </p:spTree>
    <p:extLst>
      <p:ext uri="{BB962C8B-B14F-4D97-AF65-F5344CB8AC3E}">
        <p14:creationId xmlns:p14="http://schemas.microsoft.com/office/powerpoint/2010/main" val="134227666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ontaktfolie allgemein">
    <p:spTree>
      <p:nvGrpSpPr>
        <p:cNvPr id="1" name=""/>
        <p:cNvGrpSpPr/>
        <p:nvPr/>
      </p:nvGrpSpPr>
      <p:grpSpPr>
        <a:xfrm>
          <a:off x="0" y="0"/>
          <a:ext cx="0" cy="0"/>
          <a:chOff x="0" y="0"/>
          <a:chExt cx="0" cy="0"/>
        </a:xfrm>
      </p:grpSpPr>
      <p:sp>
        <p:nvSpPr>
          <p:cNvPr id="17" name="Foliennummernplatzhalter 3"/>
          <p:cNvSpPr>
            <a:spLocks noGrp="1"/>
          </p:cNvSpPr>
          <p:nvPr>
            <p:ph type="sldNum" sz="quarter" idx="4"/>
          </p:nvPr>
        </p:nvSpPr>
        <p:spPr>
          <a:xfrm>
            <a:off x="11298419" y="6586188"/>
            <a:ext cx="461783" cy="140488"/>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en-US" smtClean="0"/>
              <a:pPr algn="r">
                <a:lnSpc>
                  <a:spcPct val="110000"/>
                </a:lnSpc>
              </a:pPr>
              <a:t>‹#›</a:t>
            </a:fld>
            <a:endParaRPr lang="en-US" dirty="0"/>
          </a:p>
        </p:txBody>
      </p:sp>
      <p:sp>
        <p:nvSpPr>
          <p:cNvPr id="14" name="Textfeld 13"/>
          <p:cNvSpPr txBox="1"/>
          <p:nvPr userDrawn="1"/>
        </p:nvSpPr>
        <p:spPr>
          <a:xfrm>
            <a:off x="4869060" y="2611194"/>
            <a:ext cx="1899880" cy="710964"/>
          </a:xfrm>
          <a:prstGeom prst="rect">
            <a:avLst/>
          </a:prstGeom>
          <a:noFill/>
        </p:spPr>
        <p:txBody>
          <a:bodyPr wrap="square" lIns="0" tIns="0" rIns="0" bIns="0" rtlCol="0">
            <a:spAutoFit/>
          </a:bodyPr>
          <a:lstStyle/>
          <a:p>
            <a:pPr>
              <a:lnSpc>
                <a:spcPct val="110000"/>
              </a:lnSpc>
            </a:pPr>
            <a:r>
              <a:rPr lang="en-US" sz="1400" dirty="0"/>
              <a:t>Institute for Machine Tools and Industrial Management</a:t>
            </a:r>
          </a:p>
        </p:txBody>
      </p:sp>
      <p:sp>
        <p:nvSpPr>
          <p:cNvPr id="15" name="Textfeld 14"/>
          <p:cNvSpPr txBox="1"/>
          <p:nvPr userDrawn="1"/>
        </p:nvSpPr>
        <p:spPr>
          <a:xfrm>
            <a:off x="4869059" y="3429532"/>
            <a:ext cx="1601400" cy="473976"/>
          </a:xfrm>
          <a:prstGeom prst="rect">
            <a:avLst/>
          </a:prstGeom>
          <a:noFill/>
        </p:spPr>
        <p:txBody>
          <a:bodyPr wrap="none" lIns="0" tIns="0" rIns="0" bIns="0" rtlCol="0">
            <a:spAutoFit/>
          </a:bodyPr>
          <a:lstStyle/>
          <a:p>
            <a:pPr>
              <a:lnSpc>
                <a:spcPct val="110000"/>
              </a:lnSpc>
            </a:pPr>
            <a:r>
              <a:rPr lang="en-US" sz="1400" dirty="0" err="1"/>
              <a:t>Boltzmannstraße</a:t>
            </a:r>
            <a:r>
              <a:rPr lang="en-US" sz="1400" dirty="0"/>
              <a:t> 15</a:t>
            </a:r>
          </a:p>
          <a:p>
            <a:pPr>
              <a:lnSpc>
                <a:spcPct val="110000"/>
              </a:lnSpc>
            </a:pPr>
            <a:r>
              <a:rPr lang="en-US" sz="1400" dirty="0"/>
              <a:t>85748 </a:t>
            </a:r>
            <a:r>
              <a:rPr lang="en-US" sz="1400" dirty="0" err="1"/>
              <a:t>Garching</a:t>
            </a:r>
            <a:endParaRPr lang="en-US" sz="1400" dirty="0"/>
          </a:p>
        </p:txBody>
      </p:sp>
      <p:sp>
        <p:nvSpPr>
          <p:cNvPr id="16" name="Textfeld 15"/>
          <p:cNvSpPr txBox="1"/>
          <p:nvPr userDrawn="1"/>
        </p:nvSpPr>
        <p:spPr>
          <a:xfrm>
            <a:off x="4869060" y="4010882"/>
            <a:ext cx="1899879" cy="473976"/>
          </a:xfrm>
          <a:prstGeom prst="rect">
            <a:avLst/>
          </a:prstGeom>
          <a:noFill/>
        </p:spPr>
        <p:txBody>
          <a:bodyPr wrap="none" lIns="0" tIns="0" rIns="0" bIns="0" rtlCol="0">
            <a:spAutoFit/>
          </a:bodyPr>
          <a:lstStyle/>
          <a:p>
            <a:pPr defTabSz="449263">
              <a:lnSpc>
                <a:spcPct val="110000"/>
              </a:lnSpc>
            </a:pPr>
            <a:r>
              <a:rPr lang="en-US" sz="1400" dirty="0"/>
              <a:t>Tel. 	+49.89.289.</a:t>
            </a:r>
          </a:p>
          <a:p>
            <a:pPr defTabSz="449263">
              <a:lnSpc>
                <a:spcPct val="110000"/>
              </a:lnSpc>
            </a:pPr>
            <a:r>
              <a:rPr lang="en-US" sz="1400" dirty="0"/>
              <a:t>Fax	+49.89.289.15555</a:t>
            </a:r>
          </a:p>
        </p:txBody>
      </p:sp>
      <p:sp>
        <p:nvSpPr>
          <p:cNvPr id="29" name="Rechteck 28"/>
          <p:cNvSpPr/>
          <p:nvPr userDrawn="1"/>
        </p:nvSpPr>
        <p:spPr>
          <a:xfrm>
            <a:off x="1169959" y="1347787"/>
            <a:ext cx="6804082" cy="4162426"/>
          </a:xfrm>
          <a:prstGeom prst="rect">
            <a:avLst/>
          </a:prstGeom>
          <a:noFill/>
          <a:ln w="9525" cap="flat" cmpd="sng" algn="ctr">
            <a:solidFill>
              <a:srgbClr val="5858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1" name="Textplatzhalter 4"/>
          <p:cNvSpPr>
            <a:spLocks noGrp="1"/>
          </p:cNvSpPr>
          <p:nvPr>
            <p:ph type="body" sz="quarter" idx="18" hasCustomPrompt="1"/>
          </p:nvPr>
        </p:nvSpPr>
        <p:spPr>
          <a:xfrm>
            <a:off x="1661613" y="3138141"/>
            <a:ext cx="2388474" cy="269304"/>
          </a:xfrm>
          <a:prstGeom prst="rect">
            <a:avLst/>
          </a:prstGeom>
        </p:spPr>
        <p:txBody>
          <a:bodyPr lIns="0" tIns="0" rIns="0" bIns="0">
            <a:noAutofit/>
          </a:bodyPr>
          <a:lstStyle>
            <a:lvl1pPr>
              <a:defRPr/>
            </a:lvl1pPr>
          </a:lstStyle>
          <a:p>
            <a:pPr lvl="0"/>
            <a:r>
              <a:rPr lang="en-US" dirty="0" err="1"/>
              <a:t>Akad</a:t>
            </a:r>
            <a:r>
              <a:rPr lang="en-US" dirty="0"/>
              <a:t>. Title</a:t>
            </a:r>
          </a:p>
        </p:txBody>
      </p:sp>
      <p:sp>
        <p:nvSpPr>
          <p:cNvPr id="32" name="Textplatzhalter 4"/>
          <p:cNvSpPr>
            <a:spLocks noGrp="1"/>
          </p:cNvSpPr>
          <p:nvPr>
            <p:ph type="body" sz="quarter" idx="19" hasCustomPrompt="1"/>
          </p:nvPr>
        </p:nvSpPr>
        <p:spPr>
          <a:xfrm>
            <a:off x="1661613" y="3371790"/>
            <a:ext cx="2388474" cy="269304"/>
          </a:xfrm>
          <a:prstGeom prst="rect">
            <a:avLst/>
          </a:prstGeom>
        </p:spPr>
        <p:txBody>
          <a:bodyPr lIns="0" tIns="0" rIns="0" bIns="0">
            <a:noAutofit/>
          </a:bodyPr>
          <a:lstStyle>
            <a:lvl1pPr>
              <a:defRPr sz="1600" b="1"/>
            </a:lvl1pPr>
          </a:lstStyle>
          <a:p>
            <a:pPr lvl="0"/>
            <a:r>
              <a:rPr lang="en-US" dirty="0"/>
              <a:t>Name Surname</a:t>
            </a:r>
          </a:p>
        </p:txBody>
      </p:sp>
      <p:sp>
        <p:nvSpPr>
          <p:cNvPr id="33" name="Textplatzhalter 28"/>
          <p:cNvSpPr>
            <a:spLocks noGrp="1"/>
          </p:cNvSpPr>
          <p:nvPr>
            <p:ph type="body" sz="quarter" idx="20" hasCustomPrompt="1"/>
          </p:nvPr>
        </p:nvSpPr>
        <p:spPr>
          <a:xfrm>
            <a:off x="6259352" y="4010882"/>
            <a:ext cx="703424" cy="269304"/>
          </a:xfrm>
          <a:prstGeom prst="rect">
            <a:avLst/>
          </a:prstGeom>
        </p:spPr>
        <p:txBody>
          <a:bodyPr lIns="0" tIns="0" rIns="0" bIns="0">
            <a:noAutofit/>
          </a:bodyPr>
          <a:lstStyle>
            <a:lvl1pPr>
              <a:defRPr sz="1400"/>
            </a:lvl1pPr>
          </a:lstStyle>
          <a:p>
            <a:pPr lvl="0"/>
            <a:r>
              <a:rPr lang="en-US" dirty="0"/>
              <a:t>&lt;Tel.&gt;</a:t>
            </a:r>
          </a:p>
        </p:txBody>
      </p:sp>
      <p:sp>
        <p:nvSpPr>
          <p:cNvPr id="34" name="Textplatzhalter 28"/>
          <p:cNvSpPr>
            <a:spLocks noGrp="1"/>
          </p:cNvSpPr>
          <p:nvPr>
            <p:ph type="body" sz="quarter" idx="21" hasCustomPrompt="1"/>
          </p:nvPr>
        </p:nvSpPr>
        <p:spPr>
          <a:xfrm>
            <a:off x="4869059" y="4569280"/>
            <a:ext cx="3046216" cy="269304"/>
          </a:xfrm>
          <a:prstGeom prst="rect">
            <a:avLst/>
          </a:prstGeom>
        </p:spPr>
        <p:txBody>
          <a:bodyPr lIns="0" tIns="0" rIns="0" bIns="0">
            <a:noAutofit/>
          </a:bodyPr>
          <a:lstStyle>
            <a:lvl1pPr>
              <a:defRPr sz="1400"/>
            </a:lvl1pPr>
          </a:lstStyle>
          <a:p>
            <a:pPr lvl="0"/>
            <a:r>
              <a:rPr lang="en-US" dirty="0"/>
              <a:t>&lt;E-Mail&gt;</a:t>
            </a:r>
          </a:p>
        </p:txBody>
      </p:sp>
      <p:sp>
        <p:nvSpPr>
          <p:cNvPr id="35" name="Textfeld 34"/>
          <p:cNvSpPr txBox="1"/>
          <p:nvPr userDrawn="1"/>
        </p:nvSpPr>
        <p:spPr>
          <a:xfrm>
            <a:off x="4869059" y="4832466"/>
            <a:ext cx="1294970" cy="236988"/>
          </a:xfrm>
          <a:prstGeom prst="rect">
            <a:avLst/>
          </a:prstGeom>
          <a:noFill/>
        </p:spPr>
        <p:txBody>
          <a:bodyPr wrap="none" lIns="0" tIns="0" rIns="0" bIns="0" rtlCol="0">
            <a:spAutoFit/>
          </a:bodyPr>
          <a:lstStyle/>
          <a:p>
            <a:pPr>
              <a:lnSpc>
                <a:spcPct val="110000"/>
              </a:lnSpc>
            </a:pPr>
            <a:r>
              <a:rPr lang="en-US" sz="1400" dirty="0"/>
              <a:t>www.iwb.tum.de</a:t>
            </a:r>
          </a:p>
        </p:txBody>
      </p:sp>
      <p:sp>
        <p:nvSpPr>
          <p:cNvPr id="36" name="Textplatzhalter 4"/>
          <p:cNvSpPr>
            <a:spLocks noGrp="1"/>
          </p:cNvSpPr>
          <p:nvPr>
            <p:ph type="body" sz="quarter" idx="22" hasCustomPrompt="1"/>
          </p:nvPr>
        </p:nvSpPr>
        <p:spPr>
          <a:xfrm>
            <a:off x="1661613" y="3987149"/>
            <a:ext cx="2388474" cy="269304"/>
          </a:xfrm>
          <a:prstGeom prst="rect">
            <a:avLst/>
          </a:prstGeom>
        </p:spPr>
        <p:txBody>
          <a:bodyPr lIns="0" tIns="0" rIns="0" bIns="0">
            <a:noAutofit/>
          </a:bodyPr>
          <a:lstStyle>
            <a:lvl1pPr>
              <a:defRPr/>
            </a:lvl1pPr>
          </a:lstStyle>
          <a:p>
            <a:pPr lvl="0"/>
            <a:r>
              <a:rPr lang="en-US" dirty="0"/>
              <a:t>Position</a:t>
            </a:r>
          </a:p>
        </p:txBody>
      </p:sp>
      <p:pic>
        <p:nvPicPr>
          <p:cNvPr id="18" name="Bild 6" descr="20150416 tum logo blau png final.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61613" y="1882272"/>
            <a:ext cx="921002" cy="485063"/>
          </a:xfrm>
          <a:prstGeom prst="rect">
            <a:avLst/>
          </a:prstGeom>
        </p:spPr>
      </p:pic>
    </p:spTree>
    <p:extLst>
      <p:ext uri="{BB962C8B-B14F-4D97-AF65-F5344CB8AC3E}">
        <p14:creationId xmlns:p14="http://schemas.microsoft.com/office/powerpoint/2010/main" val="136098844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eiß">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15180898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3" name="Rechteck 2"/>
          <p:cNvSpPr/>
          <p:nvPr userDrawn="1"/>
        </p:nvSpPr>
        <p:spPr>
          <a:xfrm>
            <a:off x="288759" y="6529137"/>
            <a:ext cx="5165559" cy="248652"/>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de-DE" sz="1400" dirty="0"/>
          </a:p>
        </p:txBody>
      </p:sp>
      <p:sp>
        <p:nvSpPr>
          <p:cNvPr id="7" name="Rechteck 6"/>
          <p:cNvSpPr/>
          <p:nvPr userDrawn="1"/>
        </p:nvSpPr>
        <p:spPr>
          <a:xfrm>
            <a:off x="10919328" y="272718"/>
            <a:ext cx="930443" cy="433137"/>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pPr>
            <a:endParaRPr lang="de-DE" sz="1400" dirty="0"/>
          </a:p>
        </p:txBody>
      </p:sp>
    </p:spTree>
    <p:extLst>
      <p:ext uri="{BB962C8B-B14F-4D97-AF65-F5344CB8AC3E}">
        <p14:creationId xmlns:p14="http://schemas.microsoft.com/office/powerpoint/2010/main" val="3016885793"/>
      </p:ext>
    </p:extLst>
  </p:cSld>
  <p:clrMapOvr>
    <a:masterClrMapping/>
  </p:clrMapOvr>
  <p:extLst>
    <p:ext uri="{DCECCB84-F9BA-43D5-87BE-67443E8EF086}">
      <p15:sldGuideLst xmlns:p15="http://schemas.microsoft.com/office/powerpoint/2012/main">
        <p15:guide id="1" orient="horz" pos="4042" userDrawn="1">
          <p15:clr>
            <a:srgbClr val="FBAE40"/>
          </p15:clr>
        </p15:guide>
        <p15:guide id="2" pos="7416" userDrawn="1">
          <p15:clr>
            <a:srgbClr val="FBAE40"/>
          </p15:clr>
        </p15:guide>
        <p15:guide id="3" pos="264" userDrawn="1">
          <p15:clr>
            <a:srgbClr val="FBAE40"/>
          </p15:clr>
        </p15:guide>
        <p15:guide id="4" orient="horz" pos="11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EfficientElements Agenda Template">
    <p:spTree>
      <p:nvGrpSpPr>
        <p:cNvPr id="1" name=""/>
        <p:cNvGrpSpPr/>
        <p:nvPr/>
      </p:nvGrpSpPr>
      <p:grpSpPr>
        <a:xfrm>
          <a:off x="0" y="0"/>
          <a:ext cx="0" cy="0"/>
          <a:chOff x="0" y="0"/>
          <a:chExt cx="0" cy="0"/>
        </a:xfrm>
      </p:grpSpPr>
      <p:sp>
        <p:nvSpPr>
          <p:cNvPr id="2" name="Titel 1"/>
          <p:cNvSpPr>
            <a:spLocks noGrp="1"/>
          </p:cNvSpPr>
          <p:nvPr>
            <p:ph type="title"/>
          </p:nvPr>
        </p:nvSpPr>
        <p:spPr>
          <a:xfrm>
            <a:off x="450855" y="305362"/>
            <a:ext cx="10515600" cy="1325563"/>
          </a:xfrm>
          <a:prstGeom prst="rect">
            <a:avLst/>
          </a:prstGeom>
        </p:spPr>
        <p:txBody>
          <a:bodyPr lIns="0" tIns="0" rIns="0" bIns="0"/>
          <a:lstStyle>
            <a:lvl1pPr>
              <a:defRPr sz="2400"/>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Foliennummernplatzhalter 2"/>
          <p:cNvSpPr>
            <a:spLocks noGrp="1"/>
          </p:cNvSpPr>
          <p:nvPr>
            <p:ph type="sldNum" sz="quarter" idx="10"/>
          </p:nvPr>
        </p:nvSpPr>
        <p:spPr>
          <a:xfrm>
            <a:off x="11307237" y="6586188"/>
            <a:ext cx="461783" cy="140488"/>
          </a:xfrm>
        </p:spPr>
        <p:txBody>
          <a:bodyPr/>
          <a:lstStyle/>
          <a:p>
            <a:pPr algn="r">
              <a:lnSpc>
                <a:spcPct val="110000"/>
              </a:lnSpc>
            </a:pPr>
            <a:fld id="{0150336B-E114-481A-A5C5-087F4C05B58E}" type="slidenum">
              <a:rPr lang="en-US" smtClean="0"/>
              <a:pPr algn="r">
                <a:lnSpc>
                  <a:spcPct val="110000"/>
                </a:lnSpc>
              </a:pPr>
              <a:t>‹#›</a:t>
            </a:fld>
            <a:endParaRPr lang="en-US" dirty="0"/>
          </a:p>
        </p:txBody>
      </p:sp>
    </p:spTree>
    <p:extLst>
      <p:ext uri="{BB962C8B-B14F-4D97-AF65-F5344CB8AC3E}">
        <p14:creationId xmlns:p14="http://schemas.microsoft.com/office/powerpoint/2010/main" val="133953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weiß">
    <p:spTree>
      <p:nvGrpSpPr>
        <p:cNvPr id="1" name=""/>
        <p:cNvGrpSpPr/>
        <p:nvPr/>
      </p:nvGrpSpPr>
      <p:grpSpPr>
        <a:xfrm>
          <a:off x="0" y="0"/>
          <a:ext cx="0" cy="0"/>
          <a:chOff x="0" y="0"/>
          <a:chExt cx="0" cy="0"/>
        </a:xfrm>
      </p:grpSpPr>
      <p:sp>
        <p:nvSpPr>
          <p:cNvPr id="16" name="Inhaltsplatzhalter 2"/>
          <p:cNvSpPr>
            <a:spLocks noGrp="1"/>
          </p:cNvSpPr>
          <p:nvPr>
            <p:ph idx="10" hasCustomPrompt="1"/>
          </p:nvPr>
        </p:nvSpPr>
        <p:spPr>
          <a:xfrm>
            <a:off x="425451" y="2830482"/>
            <a:ext cx="11345332" cy="1274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rgbClr val="000000"/>
                </a:solidFill>
              </a:defRPr>
            </a:lvl1pPr>
            <a:lvl2pPr>
              <a:defRPr lang="de-DE" noProof="0" dirty="0" smtClean="0"/>
            </a:lvl2pPr>
          </a:lstStyle>
          <a:p>
            <a:pPr lvl="0"/>
            <a:r>
              <a:rPr lang="en-US" noProof="0" dirty="0"/>
              <a:t>Referent</a:t>
            </a:r>
            <a:br>
              <a:rPr lang="en-US" noProof="0" dirty="0"/>
            </a:br>
            <a:r>
              <a:rPr lang="en-US" noProof="0" dirty="0"/>
              <a:t>Ort, Datum</a:t>
            </a:r>
          </a:p>
        </p:txBody>
      </p:sp>
      <p:sp>
        <p:nvSpPr>
          <p:cNvPr id="7" name="Titel 1"/>
          <p:cNvSpPr>
            <a:spLocks noGrp="1"/>
          </p:cNvSpPr>
          <p:nvPr>
            <p:ph type="title" hasCustomPrompt="1"/>
          </p:nvPr>
        </p:nvSpPr>
        <p:spPr>
          <a:xfrm>
            <a:off x="425455" y="994337"/>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noProof="0" dirty="0"/>
            </a:lvl1pPr>
          </a:lstStyle>
          <a:p>
            <a:pPr lvl="0"/>
            <a:r>
              <a:rPr lang="en-US" noProof="0" dirty="0" err="1"/>
              <a:t>Titel</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platzhalter 2"/>
          <p:cNvSpPr>
            <a:spLocks noGrp="1"/>
          </p:cNvSpPr>
          <p:nvPr>
            <p:ph type="body" sz="quarter" idx="11" hasCustomPrompt="1"/>
          </p:nvPr>
        </p:nvSpPr>
        <p:spPr>
          <a:xfrm>
            <a:off x="425451" y="2098967"/>
            <a:ext cx="11345332" cy="377796"/>
          </a:xfrm>
          <a:prstGeom prst="rect">
            <a:avLst/>
          </a:prstGeom>
        </p:spPr>
        <p:txBody>
          <a:bodyPr lIns="0" tIns="0" rIns="0" bIns="0" anchor="ctr"/>
          <a:lstStyle>
            <a:lvl1pPr>
              <a:defRPr sz="2000" baseline="0"/>
            </a:lvl1pPr>
          </a:lstStyle>
          <a:p>
            <a:pPr lvl="0"/>
            <a:r>
              <a:rPr lang="en-US" dirty="0" err="1"/>
              <a:t>Untertitel</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Foliennummernplatzhalter 4"/>
          <p:cNvSpPr>
            <a:spLocks noGrp="1"/>
          </p:cNvSpPr>
          <p:nvPr>
            <p:ph type="sldNum" sz="quarter" idx="12"/>
          </p:nvPr>
        </p:nvSpPr>
        <p:spPr>
          <a:xfrm>
            <a:off x="11307235" y="6586188"/>
            <a:ext cx="461783" cy="152349"/>
          </a:xfrm>
          <a:prstGeom prst="rect">
            <a:avLst/>
          </a:prstGeom>
        </p:spPr>
        <p:txBody>
          <a:bodyPr/>
          <a:lstStyle/>
          <a:p>
            <a:pPr algn="r">
              <a:lnSpc>
                <a:spcPct val="110000"/>
              </a:lnSpc>
            </a:pPr>
            <a:fld id="{0150336B-E114-481A-A5C5-087F4C05B58E}" type="slidenum">
              <a:rPr lang="en-US" smtClean="0"/>
              <a:pPr algn="r">
                <a:lnSpc>
                  <a:spcPct val="110000"/>
                </a:lnSpc>
              </a:pPr>
              <a:t>‹#›</a:t>
            </a:fld>
            <a:endParaRPr lang="en-US" dirty="0"/>
          </a:p>
        </p:txBody>
      </p:sp>
    </p:spTree>
    <p:extLst>
      <p:ext uri="{BB962C8B-B14F-4D97-AF65-F5344CB8AC3E}">
        <p14:creationId xmlns:p14="http://schemas.microsoft.com/office/powerpoint/2010/main" val="17185509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425455" y="994337"/>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baseline="0" noProof="0" dirty="0">
                <a:solidFill>
                  <a:schemeClr val="tx1"/>
                </a:solidFill>
              </a:defRPr>
            </a:lvl1pPr>
          </a:lstStyle>
          <a:p>
            <a:pPr lvl="0"/>
            <a:r>
              <a:rPr lang="en-US" noProof="0" dirty="0" err="1"/>
              <a:t>Kapiteltrenner</a:t>
            </a:r>
            <a:endParaRPr lang="en-US" noProof="0" dirty="0"/>
          </a:p>
        </p:txBody>
      </p:sp>
      <p:sp>
        <p:nvSpPr>
          <p:cNvPr id="2" name="Foliennummernplatzhalter 1"/>
          <p:cNvSpPr>
            <a:spLocks noGrp="1"/>
          </p:cNvSpPr>
          <p:nvPr>
            <p:ph type="sldNum" sz="quarter" idx="10"/>
          </p:nvPr>
        </p:nvSpPr>
        <p:spPr>
          <a:xfrm>
            <a:off x="11307235" y="6586188"/>
            <a:ext cx="461783" cy="152349"/>
          </a:xfrm>
          <a:prstGeom prst="rect">
            <a:avLst/>
          </a:prstGeom>
        </p:spPr>
        <p:txBody>
          <a:bodyPr/>
          <a:lstStyle/>
          <a:p>
            <a:pPr algn="r">
              <a:lnSpc>
                <a:spcPct val="110000"/>
              </a:lnSpc>
            </a:pPr>
            <a:fld id="{0150336B-E114-481A-A5C5-087F4C05B58E}" type="slidenum">
              <a:rPr lang="en-US" smtClean="0"/>
              <a:pPr algn="r">
                <a:lnSpc>
                  <a:spcPct val="110000"/>
                </a:lnSpc>
              </a:pPr>
              <a:t>‹#›</a:t>
            </a:fld>
            <a:endParaRPr lang="en-US" dirty="0"/>
          </a:p>
        </p:txBody>
      </p:sp>
    </p:spTree>
    <p:extLst>
      <p:ext uri="{BB962C8B-B14F-4D97-AF65-F5344CB8AC3E}">
        <p14:creationId xmlns:p14="http://schemas.microsoft.com/office/powerpoint/2010/main" val="25053272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trenner blau">
    <p:bg>
      <p:bgRef idx="1001">
        <a:schemeClr val="bg2"/>
      </p:bgRef>
    </p:bg>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425455" y="994337"/>
            <a:ext cx="11345332"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3000" baseline="0" noProof="0" dirty="0">
                <a:solidFill>
                  <a:schemeClr val="tx1"/>
                </a:solidFill>
              </a:defRPr>
            </a:lvl1pPr>
          </a:lstStyle>
          <a:p>
            <a:pPr lvl="0"/>
            <a:r>
              <a:rPr lang="en-US" noProof="0" dirty="0" err="1"/>
              <a:t>Kapiteltrenner</a:t>
            </a:r>
            <a:endParaRPr lang="en-US" noProof="0" dirty="0"/>
          </a:p>
        </p:txBody>
      </p:sp>
      <p:sp>
        <p:nvSpPr>
          <p:cNvPr id="2" name="Foliennummernplatzhalter 1"/>
          <p:cNvSpPr>
            <a:spLocks noGrp="1"/>
          </p:cNvSpPr>
          <p:nvPr>
            <p:ph type="sldNum" sz="quarter" idx="10"/>
          </p:nvPr>
        </p:nvSpPr>
        <p:spPr>
          <a:xfrm>
            <a:off x="11307235" y="6586188"/>
            <a:ext cx="461783" cy="152349"/>
          </a:xfrm>
          <a:prstGeom prst="rect">
            <a:avLst/>
          </a:prstGeom>
        </p:spPr>
        <p:txBody>
          <a:bodyPr/>
          <a:lstStyle/>
          <a:p>
            <a:pPr algn="r">
              <a:lnSpc>
                <a:spcPct val="110000"/>
              </a:lnSpc>
            </a:pPr>
            <a:fld id="{0150336B-E114-481A-A5C5-087F4C05B58E}" type="slidenum">
              <a:rPr lang="en-US" smtClean="0"/>
              <a:pPr algn="r">
                <a:lnSpc>
                  <a:spcPct val="110000"/>
                </a:lnSpc>
              </a:pPr>
              <a:t>‹#›</a:t>
            </a:fld>
            <a:endParaRPr lang="en-US" dirty="0"/>
          </a:p>
        </p:txBody>
      </p:sp>
      <p:pic>
        <p:nvPicPr>
          <p:cNvPr id="5" name="Bild 3" descr="20150416 tum logo blau png final.png"/>
          <p:cNvPicPr>
            <a:picLocks noChangeAspect="1"/>
          </p:cNvPicPr>
          <p:nvPr userDrawn="1"/>
        </p:nvPicPr>
        <p:blipFill>
          <a:blip r:embed="rId2"/>
          <a:stretch>
            <a:fillRect/>
          </a:stretch>
        </p:blipFill>
        <p:spPr bwMode="black">
          <a:xfrm>
            <a:off x="11160665" y="324650"/>
            <a:ext cx="602472" cy="320400"/>
          </a:xfrm>
          <a:prstGeom prst="rect">
            <a:avLst/>
          </a:prstGeom>
        </p:spPr>
      </p:pic>
      <p:grpSp>
        <p:nvGrpSpPr>
          <p:cNvPr id="6" name="Gruppieren 5"/>
          <p:cNvGrpSpPr/>
          <p:nvPr userDrawn="1"/>
        </p:nvGrpSpPr>
        <p:grpSpPr>
          <a:xfrm>
            <a:off x="2571751" y="1647825"/>
            <a:ext cx="9620250" cy="5310663"/>
            <a:chOff x="1327639" y="2191149"/>
            <a:chExt cx="7798776" cy="4767339"/>
          </a:xfrm>
        </p:grpSpPr>
        <p:pic>
          <p:nvPicPr>
            <p:cNvPr id="8" name="Grafik 7"/>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614854" y="2191149"/>
              <a:ext cx="7511561" cy="4631682"/>
            </a:xfrm>
            <a:prstGeom prst="rect">
              <a:avLst/>
            </a:prstGeom>
          </p:spPr>
        </p:pic>
        <p:pic>
          <p:nvPicPr>
            <p:cNvPr id="9" name="Grafik 8"/>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327639" y="6518579"/>
              <a:ext cx="3050931" cy="439909"/>
            </a:xfrm>
            <a:prstGeom prst="rect">
              <a:avLst/>
            </a:prstGeom>
          </p:spPr>
        </p:pic>
      </p:grpSp>
    </p:spTree>
    <p:extLst>
      <p:ext uri="{BB962C8B-B14F-4D97-AF65-F5344CB8AC3E}">
        <p14:creationId xmlns:p14="http://schemas.microsoft.com/office/powerpoint/2010/main" val="282252998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935176494"/>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25455" y="1808163"/>
            <a:ext cx="11334748" cy="46085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79388" indent="-179388">
              <a:lnSpc>
                <a:spcPct val="114000"/>
              </a:lnSpc>
              <a:buFont typeface="Wingdings" panose="05000000000000000000" pitchFamily="2" charset="2"/>
              <a:buChar char="§"/>
              <a:defRPr lang="de-DE" sz="1400" noProof="0" dirty="0" smtClean="0"/>
            </a:lvl1pPr>
            <a:lvl2pPr marL="358775" indent="-176213">
              <a:lnSpc>
                <a:spcPct val="114000"/>
              </a:lnSpc>
              <a:buFont typeface="Symbol" panose="05050102010706020507" pitchFamily="18" charset="2"/>
              <a:buChar char="-"/>
              <a:defRPr lang="de-DE" sz="1400" noProof="0" dirty="0" smtClean="0"/>
            </a:lvl2pPr>
            <a:lvl3pPr marL="488950" indent="-134938">
              <a:buFont typeface="Arial" panose="020B0604020202020204" pitchFamily="34" charset="0"/>
              <a:buChar char="•"/>
              <a:defRPr sz="1200"/>
            </a:lvl3pPr>
            <a:lvl4pPr marL="538163" indent="-177800">
              <a:buFont typeface="Wingdings" panose="05000000000000000000" pitchFamily="2" charset="2"/>
              <a:buChar char="§"/>
              <a:defRPr/>
            </a:lvl4pPr>
          </a:lstStyle>
          <a:p>
            <a:pPr lvl="0"/>
            <a:r>
              <a:rPr lang="en-US" noProof="0" dirty="0" err="1"/>
              <a:t>Inhal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6" name="Titel 1"/>
          <p:cNvSpPr>
            <a:spLocks noGrp="1"/>
          </p:cNvSpPr>
          <p:nvPr>
            <p:ph type="title" hasCustomPrompt="1"/>
          </p:nvPr>
        </p:nvSpPr>
        <p:spPr>
          <a:xfrm>
            <a:off x="425456"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en-US" noProof="0" dirty="0" err="1"/>
              <a:t>Hauptaussage</a:t>
            </a:r>
            <a:r>
              <a:rPr lang="en-US" noProof="0" dirty="0"/>
              <a:t> der </a:t>
            </a:r>
            <a:r>
              <a:rPr lang="en-US" noProof="0" dirty="0" err="1"/>
              <a:t>Folie</a:t>
            </a:r>
            <a:r>
              <a:rPr lang="en-US" noProof="0" dirty="0"/>
              <a:t> (Action Title)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 name="Textplatzhalter 26"/>
          <p:cNvSpPr>
            <a:spLocks noGrp="1"/>
          </p:cNvSpPr>
          <p:nvPr>
            <p:ph type="body" sz="quarter" idx="17" hasCustomPrompt="1"/>
          </p:nvPr>
        </p:nvSpPr>
        <p:spPr>
          <a:xfrm>
            <a:off x="6096002" y="6580789"/>
            <a:ext cx="484844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en-US" dirty="0" err="1"/>
              <a:t>Quellen</a:t>
            </a:r>
            <a:r>
              <a:rPr lang="en-US" dirty="0"/>
              <a:t> &amp; </a:t>
            </a:r>
            <a:r>
              <a:rPr lang="en-US" dirty="0" err="1"/>
              <a:t>Fußnoten</a:t>
            </a:r>
            <a:r>
              <a:rPr lang="en-US" dirty="0"/>
              <a:t> </a:t>
            </a:r>
            <a:r>
              <a:rPr lang="en-US" dirty="0" err="1"/>
              <a:t>einfügen</a:t>
            </a:r>
            <a:endParaRPr lang="en-US" dirty="0"/>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en-US" noProof="0" dirty="0" err="1"/>
              <a:t>Gliederung</a:t>
            </a:r>
            <a:r>
              <a:rPr lang="en-US" noProof="0" dirty="0"/>
              <a:t> / </a:t>
            </a:r>
            <a:r>
              <a:rPr lang="en-US" noProof="0" dirty="0" err="1"/>
              <a:t>Thema</a:t>
            </a:r>
            <a:r>
              <a:rPr lang="en-US" noProof="0" dirty="0"/>
              <a:t> / </a:t>
            </a:r>
            <a:r>
              <a:rPr lang="en-US" noProof="0" dirty="0" err="1"/>
              <a:t>Kapitelnam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2" name="Foliennummernplatzhalter 3"/>
          <p:cNvSpPr>
            <a:spLocks noGrp="1"/>
          </p:cNvSpPr>
          <p:nvPr>
            <p:ph type="sldNum" sz="quarter" idx="4"/>
          </p:nvPr>
        </p:nvSpPr>
        <p:spPr>
          <a:xfrm>
            <a:off x="11298422" y="6586188"/>
            <a:ext cx="461783" cy="140488"/>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en-US" smtClean="0"/>
              <a:pPr algn="r">
                <a:lnSpc>
                  <a:spcPct val="110000"/>
                </a:lnSpc>
              </a:pPr>
              <a:t>‹#›</a:t>
            </a:fld>
            <a:endParaRPr lang="en-US" dirty="0"/>
          </a:p>
        </p:txBody>
      </p:sp>
    </p:spTree>
    <p:extLst>
      <p:ext uri="{BB962C8B-B14F-4D97-AF65-F5344CB8AC3E}">
        <p14:creationId xmlns:p14="http://schemas.microsoft.com/office/powerpoint/2010/main" val="2183948741"/>
      </p:ext>
    </p:extLst>
  </p:cSld>
  <p:clrMapOvr>
    <a:masterClrMapping/>
  </p:clrMapOvr>
  <p:extLst>
    <p:ext uri="{DCECCB84-F9BA-43D5-87BE-67443E8EF086}">
      <p15:sldGuideLst xmlns:p15="http://schemas.microsoft.com/office/powerpoint/2012/main">
        <p15:guide id="1" pos="7416" userDrawn="1">
          <p15:clr>
            <a:srgbClr val="FBAE40"/>
          </p15:clr>
        </p15:guide>
        <p15:guide id="2" pos="264" userDrawn="1">
          <p15:clr>
            <a:srgbClr val="FBAE40"/>
          </p15:clr>
        </p15:guide>
        <p15:guide id="4" orient="horz" pos="404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08799445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6" name="Titel 1"/>
          <p:cNvSpPr>
            <a:spLocks noGrp="1"/>
          </p:cNvSpPr>
          <p:nvPr>
            <p:ph type="title" hasCustomPrompt="1"/>
          </p:nvPr>
        </p:nvSpPr>
        <p:spPr>
          <a:xfrm>
            <a:off x="425456"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en-US" noProof="0" dirty="0" err="1"/>
              <a:t>Hauptaussage</a:t>
            </a:r>
            <a:r>
              <a:rPr lang="en-US" noProof="0" dirty="0"/>
              <a:t> der </a:t>
            </a:r>
            <a:r>
              <a:rPr lang="en-US" noProof="0" dirty="0" err="1"/>
              <a:t>Folie</a:t>
            </a:r>
            <a:r>
              <a:rPr lang="en-US" noProof="0" dirty="0"/>
              <a:t> (Action Title)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en-US" noProof="0" dirty="0" err="1"/>
              <a:t>Gliederung</a:t>
            </a:r>
            <a:r>
              <a:rPr lang="en-US" noProof="0" dirty="0"/>
              <a:t> / </a:t>
            </a:r>
            <a:r>
              <a:rPr lang="en-US" noProof="0" dirty="0" err="1"/>
              <a:t>Thema</a:t>
            </a:r>
            <a:r>
              <a:rPr lang="en-US" noProof="0" dirty="0"/>
              <a:t> / </a:t>
            </a:r>
            <a:r>
              <a:rPr lang="en-US" noProof="0" dirty="0" err="1"/>
              <a:t>Kapitelnam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2" name="Foliennummernplatzhalter 3"/>
          <p:cNvSpPr>
            <a:spLocks noGrp="1"/>
          </p:cNvSpPr>
          <p:nvPr>
            <p:ph type="sldNum" sz="quarter" idx="4"/>
          </p:nvPr>
        </p:nvSpPr>
        <p:spPr>
          <a:xfrm>
            <a:off x="11298422" y="6586188"/>
            <a:ext cx="461783" cy="140488"/>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en-US" smtClean="0"/>
              <a:pPr algn="r">
                <a:lnSpc>
                  <a:spcPct val="110000"/>
                </a:lnSpc>
              </a:pPr>
              <a:t>‹#›</a:t>
            </a:fld>
            <a:endParaRPr lang="en-US" dirty="0"/>
          </a:p>
        </p:txBody>
      </p:sp>
    </p:spTree>
    <p:extLst>
      <p:ext uri="{BB962C8B-B14F-4D97-AF65-F5344CB8AC3E}">
        <p14:creationId xmlns:p14="http://schemas.microsoft.com/office/powerpoint/2010/main" val="177369571"/>
      </p:ext>
    </p:extLst>
  </p:cSld>
  <p:clrMapOvr>
    <a:masterClrMapping/>
  </p:clrMapOvr>
  <p:extLst>
    <p:ext uri="{DCECCB84-F9BA-43D5-87BE-67443E8EF086}">
      <p15:sldGuideLst xmlns:p15="http://schemas.microsoft.com/office/powerpoint/2012/main">
        <p15:guide id="0" pos="7416" userDrawn="1">
          <p15:clr>
            <a:srgbClr val="FBAE40"/>
          </p15:clr>
        </p15:guide>
        <p15:guide id="1" orient="horz" pos="4042" userDrawn="1">
          <p15:clr>
            <a:srgbClr val="FBAE40"/>
          </p15:clr>
        </p15:guide>
        <p15:guide id="2" pos="264" userDrawn="1">
          <p15:clr>
            <a:srgbClr val="FBAE40"/>
          </p15:clr>
        </p15:guide>
        <p15:guide id="3" orient="horz" pos="113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mmerierun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5726715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25455" y="1808163"/>
            <a:ext cx="11334748" cy="46085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65113" indent="-265113">
              <a:lnSpc>
                <a:spcPct val="114000"/>
              </a:lnSpc>
              <a:buFont typeface="+mj-lt"/>
              <a:buAutoNum type="arabicPeriod"/>
              <a:defRPr lang="de-DE" sz="1400" noProof="0" dirty="0" smtClean="0"/>
            </a:lvl1pPr>
            <a:lvl2pPr marL="496888" indent="-214313">
              <a:lnSpc>
                <a:spcPct val="114000"/>
              </a:lnSpc>
              <a:buFont typeface="+mj-lt"/>
              <a:buAutoNum type="alphaLcPeriod"/>
              <a:tabLst/>
              <a:defRPr lang="de-DE" sz="1400" noProof="0" dirty="0" smtClean="0"/>
            </a:lvl2pPr>
            <a:lvl3pPr marL="665163" indent="-179388">
              <a:buFont typeface="+mj-lt"/>
              <a:buAutoNum type="arabicPeriod"/>
              <a:defRPr sz="1200"/>
            </a:lvl3pPr>
            <a:lvl4pPr marL="538163" indent="-177800">
              <a:buFont typeface="Wingdings" panose="05000000000000000000" pitchFamily="2" charset="2"/>
              <a:buChar char="§"/>
              <a:defRPr/>
            </a:lvl4pPr>
          </a:lstStyle>
          <a:p>
            <a:pPr lvl="0"/>
            <a:r>
              <a:rPr lang="en-US" noProof="0" dirty="0" err="1"/>
              <a:t>Inhal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p:txBody>
      </p:sp>
      <p:sp>
        <p:nvSpPr>
          <p:cNvPr id="6" name="Titel 1"/>
          <p:cNvSpPr>
            <a:spLocks noGrp="1"/>
          </p:cNvSpPr>
          <p:nvPr>
            <p:ph type="title" hasCustomPrompt="1"/>
          </p:nvPr>
        </p:nvSpPr>
        <p:spPr>
          <a:xfrm>
            <a:off x="425456"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en-US" noProof="0" dirty="0" err="1"/>
              <a:t>Hauptaussage</a:t>
            </a:r>
            <a:r>
              <a:rPr lang="en-US" noProof="0" dirty="0"/>
              <a:t> der </a:t>
            </a:r>
            <a:r>
              <a:rPr lang="en-US" noProof="0" dirty="0" err="1"/>
              <a:t>Folie</a:t>
            </a:r>
            <a:r>
              <a:rPr lang="en-US" noProof="0" dirty="0"/>
              <a:t> (Action Title)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 name="Textplatzhalter 26"/>
          <p:cNvSpPr>
            <a:spLocks noGrp="1"/>
          </p:cNvSpPr>
          <p:nvPr>
            <p:ph type="body" sz="quarter" idx="17" hasCustomPrompt="1"/>
          </p:nvPr>
        </p:nvSpPr>
        <p:spPr>
          <a:xfrm>
            <a:off x="6096002" y="6580789"/>
            <a:ext cx="484844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en-US" dirty="0" err="1"/>
              <a:t>Quellen</a:t>
            </a:r>
            <a:r>
              <a:rPr lang="en-US" dirty="0"/>
              <a:t> &amp; </a:t>
            </a:r>
            <a:r>
              <a:rPr lang="en-US" dirty="0" err="1"/>
              <a:t>Fußnoten</a:t>
            </a:r>
            <a:r>
              <a:rPr lang="en-US" dirty="0"/>
              <a:t> </a:t>
            </a:r>
            <a:r>
              <a:rPr lang="en-US" dirty="0" err="1"/>
              <a:t>einfügen</a:t>
            </a:r>
            <a:endParaRPr lang="en-US" dirty="0"/>
          </a:p>
        </p:txBody>
      </p:sp>
      <p:sp useBgFill="1">
        <p:nvSpPr>
          <p:cNvPr id="9"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en-US" noProof="0" dirty="0" err="1"/>
              <a:t>Gliederung</a:t>
            </a:r>
            <a:r>
              <a:rPr lang="en-US" noProof="0" dirty="0"/>
              <a:t> / </a:t>
            </a:r>
            <a:r>
              <a:rPr lang="en-US" noProof="0" dirty="0" err="1"/>
              <a:t>Thema</a:t>
            </a:r>
            <a:r>
              <a:rPr lang="en-US" noProof="0" dirty="0"/>
              <a:t> / </a:t>
            </a:r>
            <a:r>
              <a:rPr lang="en-US" noProof="0" dirty="0" err="1"/>
              <a:t>Kapitelnam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2" name="Foliennummernplatzhalter 3"/>
          <p:cNvSpPr>
            <a:spLocks noGrp="1"/>
          </p:cNvSpPr>
          <p:nvPr>
            <p:ph type="sldNum" sz="quarter" idx="4"/>
          </p:nvPr>
        </p:nvSpPr>
        <p:spPr>
          <a:xfrm>
            <a:off x="11298422" y="6586188"/>
            <a:ext cx="461783" cy="140488"/>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en-US" smtClean="0"/>
              <a:pPr algn="r">
                <a:lnSpc>
                  <a:spcPct val="110000"/>
                </a:lnSpc>
              </a:pPr>
              <a:t>‹#›</a:t>
            </a:fld>
            <a:endParaRPr lang="en-US" dirty="0"/>
          </a:p>
        </p:txBody>
      </p:sp>
    </p:spTree>
    <p:extLst>
      <p:ext uri="{BB962C8B-B14F-4D97-AF65-F5344CB8AC3E}">
        <p14:creationId xmlns:p14="http://schemas.microsoft.com/office/powerpoint/2010/main" val="1796720275"/>
      </p:ext>
    </p:extLst>
  </p:cSld>
  <p:clrMapOvr>
    <a:masterClrMapping/>
  </p:clrMapOvr>
  <p:extLst>
    <p:ext uri="{DCECCB84-F9BA-43D5-87BE-67443E8EF086}">
      <p15:sldGuideLst xmlns:p15="http://schemas.microsoft.com/office/powerpoint/2012/main">
        <p15:guide id="1" pos="7416" userDrawn="1">
          <p15:clr>
            <a:srgbClr val="FBAE40"/>
          </p15:clr>
        </p15:guide>
        <p15:guide id="2" pos="264" userDrawn="1">
          <p15:clr>
            <a:srgbClr val="FBAE40"/>
          </p15:clr>
        </p15:guide>
        <p15:guide id="3" orient="horz" pos="404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808165"/>
            <a:ext cx="12192000" cy="5049837"/>
          </a:xfrm>
          <a:prstGeom prst="rect">
            <a:avLst/>
          </a:prstGeom>
          <a:solidFill>
            <a:schemeClr val="bg1">
              <a:lumMod val="85000"/>
            </a:schemeClr>
          </a:solidFill>
        </p:spPr>
        <p:txBody>
          <a:bodyPr/>
          <a:lstStyle>
            <a:lvl1pPr>
              <a:lnSpc>
                <a:spcPct val="114000"/>
              </a:lnSpc>
              <a:defRPr/>
            </a:lvl1pPr>
          </a:lstStyle>
          <a:p>
            <a:endParaRPr lang="de-DE" dirty="0"/>
          </a:p>
        </p:txBody>
      </p:sp>
      <p:sp>
        <p:nvSpPr>
          <p:cNvPr id="9" name="Titel 1"/>
          <p:cNvSpPr>
            <a:spLocks noGrp="1"/>
          </p:cNvSpPr>
          <p:nvPr>
            <p:ph type="title" hasCustomPrompt="1"/>
          </p:nvPr>
        </p:nvSpPr>
        <p:spPr>
          <a:xfrm>
            <a:off x="425456"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en-US" noProof="0" dirty="0" err="1"/>
              <a:t>Hauptaussage</a:t>
            </a:r>
            <a:r>
              <a:rPr lang="en-US" noProof="0" dirty="0"/>
              <a:t> der </a:t>
            </a:r>
            <a:r>
              <a:rPr lang="en-US" noProof="0" dirty="0" err="1"/>
              <a:t>Folie</a:t>
            </a:r>
            <a:r>
              <a:rPr lang="en-US" noProof="0" dirty="0"/>
              <a:t> (Action Title)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useBgFill="1">
        <p:nvSpPr>
          <p:cNvPr id="11"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en-US" noProof="0" dirty="0" err="1"/>
              <a:t>Gliederung</a:t>
            </a:r>
            <a:r>
              <a:rPr lang="en-US" noProof="0" dirty="0"/>
              <a:t> / </a:t>
            </a:r>
            <a:r>
              <a:rPr lang="en-US" noProof="0" dirty="0" err="1"/>
              <a:t>Thema</a:t>
            </a:r>
            <a:r>
              <a:rPr lang="en-US" noProof="0" dirty="0"/>
              <a:t> / </a:t>
            </a:r>
            <a:r>
              <a:rPr lang="en-US" noProof="0" dirty="0" err="1"/>
              <a:t>Kapitelnam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12" name="Textplatzhalter 26"/>
          <p:cNvSpPr>
            <a:spLocks noGrp="1"/>
          </p:cNvSpPr>
          <p:nvPr>
            <p:ph type="body" sz="quarter" idx="17" hasCustomPrompt="1"/>
          </p:nvPr>
        </p:nvSpPr>
        <p:spPr>
          <a:xfrm>
            <a:off x="429684" y="6580789"/>
            <a:ext cx="9313757" cy="257650"/>
          </a:xfrm>
          <a:prstGeom prst="rect">
            <a:avLst/>
          </a:prstGeom>
        </p:spPr>
        <p:txBody>
          <a:bodyPr lIns="0" tIns="0" rIns="0" bIns="0">
            <a:noAutofit/>
          </a:bodyPr>
          <a:lstStyle>
            <a:lvl1pPr>
              <a:lnSpc>
                <a:spcPct val="100000"/>
              </a:lnSpc>
              <a:defRPr sz="900">
                <a:latin typeface="+mn-lt"/>
                <a:cs typeface="Aharoni" panose="02010803020104030203" pitchFamily="2" charset="-79"/>
              </a:defRPr>
            </a:lvl1pPr>
          </a:lstStyle>
          <a:p>
            <a:pPr lvl="0"/>
            <a:r>
              <a:rPr lang="en-US" dirty="0" err="1"/>
              <a:t>Quellen</a:t>
            </a:r>
            <a:r>
              <a:rPr lang="en-US" dirty="0"/>
              <a:t> &amp; </a:t>
            </a:r>
            <a:r>
              <a:rPr lang="en-US" dirty="0" err="1"/>
              <a:t>Fußnoten</a:t>
            </a:r>
            <a:r>
              <a:rPr lang="en-US" dirty="0"/>
              <a:t> </a:t>
            </a:r>
            <a:r>
              <a:rPr lang="en-US" dirty="0" err="1"/>
              <a:t>einfügen</a:t>
            </a:r>
            <a:endParaRPr lang="en-US" dirty="0"/>
          </a:p>
        </p:txBody>
      </p:sp>
      <p:sp>
        <p:nvSpPr>
          <p:cNvPr id="14" name="Foliennummernplatzhalter 3"/>
          <p:cNvSpPr>
            <a:spLocks noGrp="1"/>
          </p:cNvSpPr>
          <p:nvPr>
            <p:ph type="sldNum" sz="quarter" idx="4"/>
          </p:nvPr>
        </p:nvSpPr>
        <p:spPr>
          <a:xfrm>
            <a:off x="11298419" y="6586188"/>
            <a:ext cx="461783" cy="140488"/>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en-US" smtClean="0"/>
              <a:pPr algn="r">
                <a:lnSpc>
                  <a:spcPct val="110000"/>
                </a:lnSpc>
              </a:pPr>
              <a:t>‹#›</a:t>
            </a:fld>
            <a:endParaRPr lang="en-US" dirty="0"/>
          </a:p>
        </p:txBody>
      </p:sp>
    </p:spTree>
    <p:extLst>
      <p:ext uri="{BB962C8B-B14F-4D97-AF65-F5344CB8AC3E}">
        <p14:creationId xmlns:p14="http://schemas.microsoft.com/office/powerpoint/2010/main" val="4257987376"/>
      </p:ext>
    </p:extLst>
  </p:cSld>
  <p:clrMapOvr>
    <a:masterClrMapping/>
  </p:clrMapOvr>
  <p:extLst>
    <p:ext uri="{DCECCB84-F9BA-43D5-87BE-67443E8EF086}">
      <p15:sldGuideLst xmlns:p15="http://schemas.microsoft.com/office/powerpoint/2012/main">
        <p15:guide id="1" orient="horz" pos="113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ferenten">
    <p:spTree>
      <p:nvGrpSpPr>
        <p:cNvPr id="1" name=""/>
        <p:cNvGrpSpPr/>
        <p:nvPr/>
      </p:nvGrpSpPr>
      <p:grpSpPr>
        <a:xfrm>
          <a:off x="0" y="0"/>
          <a:ext cx="0" cy="0"/>
          <a:chOff x="0" y="0"/>
          <a:chExt cx="0" cy="0"/>
        </a:xfrm>
      </p:grpSpPr>
      <p:sp>
        <p:nvSpPr>
          <p:cNvPr id="4" name="Titel 1"/>
          <p:cNvSpPr>
            <a:spLocks noGrp="1"/>
          </p:cNvSpPr>
          <p:nvPr>
            <p:ph type="title" hasCustomPrompt="1"/>
          </p:nvPr>
        </p:nvSpPr>
        <p:spPr>
          <a:xfrm>
            <a:off x="425456" y="343459"/>
            <a:ext cx="902334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de-DE" sz="2400" baseline="0" noProof="0" dirty="0"/>
            </a:lvl1pPr>
          </a:lstStyle>
          <a:p>
            <a:pPr lvl="0"/>
            <a:r>
              <a:rPr lang="en-US" noProof="0" dirty="0" err="1"/>
              <a:t>Hauptaussage</a:t>
            </a:r>
            <a:r>
              <a:rPr lang="en-US" noProof="0" dirty="0"/>
              <a:t> der </a:t>
            </a:r>
            <a:r>
              <a:rPr lang="en-US" noProof="0" dirty="0" err="1"/>
              <a:t>Folie</a:t>
            </a:r>
            <a:r>
              <a:rPr lang="en-US" noProof="0" dirty="0"/>
              <a:t> (Action Title)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useBgFill="1">
        <p:nvSpPr>
          <p:cNvPr id="5" name="Textplatzhalter 7"/>
          <p:cNvSpPr>
            <a:spLocks noGrp="1"/>
          </p:cNvSpPr>
          <p:nvPr>
            <p:ph type="body" sz="quarter" idx="13" hasCustomPrompt="1"/>
          </p:nvPr>
        </p:nvSpPr>
        <p:spPr>
          <a:xfrm>
            <a:off x="425455" y="12377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nSpc>
                <a:spcPct val="114000"/>
              </a:lnSpc>
              <a:defRPr lang="de-DE" baseline="0" noProof="0" dirty="0" smtClean="0"/>
            </a:lvl1pPr>
          </a:lstStyle>
          <a:p>
            <a:pPr lvl="0"/>
            <a:r>
              <a:rPr lang="en-US" noProof="0" dirty="0" err="1"/>
              <a:t>Gliederung</a:t>
            </a:r>
            <a:r>
              <a:rPr lang="en-US" noProof="0" dirty="0"/>
              <a:t> / </a:t>
            </a:r>
            <a:r>
              <a:rPr lang="en-US" noProof="0" dirty="0" err="1"/>
              <a:t>Thema</a:t>
            </a:r>
            <a:r>
              <a:rPr lang="en-US" noProof="0" dirty="0"/>
              <a:t> / </a:t>
            </a:r>
            <a:r>
              <a:rPr lang="en-US" noProof="0" dirty="0" err="1"/>
              <a:t>Kapitelnam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cxnSp>
        <p:nvCxnSpPr>
          <p:cNvPr id="8" name="Gerade Verbindung 18"/>
          <p:cNvCxnSpPr/>
          <p:nvPr userDrawn="1"/>
        </p:nvCxnSpPr>
        <p:spPr>
          <a:xfrm>
            <a:off x="425457" y="4053504"/>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cxnSp>
        <p:nvCxnSpPr>
          <p:cNvPr id="9" name="Gerade Verbindung 18"/>
          <p:cNvCxnSpPr/>
          <p:nvPr userDrawn="1"/>
        </p:nvCxnSpPr>
        <p:spPr>
          <a:xfrm>
            <a:off x="425457" y="2163005"/>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10" name="Inhaltsplatzhalter 5"/>
          <p:cNvSpPr txBox="1">
            <a:spLocks/>
          </p:cNvSpPr>
          <p:nvPr userDrawn="1"/>
        </p:nvSpPr>
        <p:spPr>
          <a:xfrm>
            <a:off x="425455" y="3838324"/>
            <a:ext cx="5153488" cy="184666"/>
          </a:xfrm>
          <a:prstGeom prst="rect">
            <a:avLst/>
          </a:prstGeom>
        </p:spPr>
        <p:txBody>
          <a:bodyPr vert="horz" wrap="square" lIns="0" tIns="0" rIns="0" bIns="0" rtlCol="0">
            <a:spAutoFit/>
          </a:bodyPr>
          <a:lstStyle>
            <a:defPPr>
              <a:defRPr lang="en-US"/>
            </a:defPPr>
            <a:lvl1pPr algn="l" rtl="0" fontAlgn="base">
              <a:spcBef>
                <a:spcPct val="0"/>
              </a:spcBef>
              <a:spcAft>
                <a:spcPct val="0"/>
              </a:spcAft>
              <a:defRPr sz="2000" kern="1200">
                <a:solidFill>
                  <a:schemeClr val="tx2"/>
                </a:solidFill>
                <a:latin typeface="Arial" charset="0"/>
                <a:ea typeface="+mn-ea"/>
                <a:cs typeface="+mn-cs"/>
              </a:defRPr>
            </a:lvl1pPr>
            <a:lvl2pPr marL="457200" algn="l" rtl="0" fontAlgn="base">
              <a:spcBef>
                <a:spcPct val="0"/>
              </a:spcBef>
              <a:spcAft>
                <a:spcPct val="0"/>
              </a:spcAft>
              <a:defRPr sz="2000" kern="1200">
                <a:solidFill>
                  <a:schemeClr val="tx2"/>
                </a:solidFill>
                <a:latin typeface="Arial" charset="0"/>
                <a:ea typeface="+mn-ea"/>
                <a:cs typeface="+mn-cs"/>
              </a:defRPr>
            </a:lvl2pPr>
            <a:lvl3pPr marL="914400" algn="l" rtl="0" fontAlgn="base">
              <a:spcBef>
                <a:spcPct val="0"/>
              </a:spcBef>
              <a:spcAft>
                <a:spcPct val="0"/>
              </a:spcAft>
              <a:defRPr sz="2000" kern="1200">
                <a:solidFill>
                  <a:schemeClr val="tx2"/>
                </a:solidFill>
                <a:latin typeface="Arial" charset="0"/>
                <a:ea typeface="+mn-ea"/>
                <a:cs typeface="+mn-cs"/>
              </a:defRPr>
            </a:lvl3pPr>
            <a:lvl4pPr marL="1371600" algn="l" rtl="0" fontAlgn="base">
              <a:spcBef>
                <a:spcPct val="0"/>
              </a:spcBef>
              <a:spcAft>
                <a:spcPct val="0"/>
              </a:spcAft>
              <a:defRPr sz="2000" kern="1200">
                <a:solidFill>
                  <a:schemeClr val="tx2"/>
                </a:solidFill>
                <a:latin typeface="Arial" charset="0"/>
                <a:ea typeface="+mn-ea"/>
                <a:cs typeface="+mn-cs"/>
              </a:defRPr>
            </a:lvl4pPr>
            <a:lvl5pPr marL="1828800" algn="l" rtl="0" fontAlgn="base">
              <a:spcBef>
                <a:spcPct val="0"/>
              </a:spcBef>
              <a:spcAft>
                <a:spcPct val="0"/>
              </a:spcAft>
              <a:defRPr sz="2000" kern="1200">
                <a:solidFill>
                  <a:schemeClr val="tx2"/>
                </a:solidFill>
                <a:latin typeface="Arial" charset="0"/>
                <a:ea typeface="+mn-ea"/>
                <a:cs typeface="+mn-cs"/>
              </a:defRPr>
            </a:lvl5pPr>
            <a:lvl6pPr marL="2286000" algn="l" defTabSz="914400" rtl="0" eaLnBrk="1" latinLnBrk="0" hangingPunct="1">
              <a:defRPr sz="2000" kern="1200">
                <a:solidFill>
                  <a:schemeClr val="tx2"/>
                </a:solidFill>
                <a:latin typeface="Arial" charset="0"/>
                <a:ea typeface="+mn-ea"/>
                <a:cs typeface="+mn-cs"/>
              </a:defRPr>
            </a:lvl6pPr>
            <a:lvl7pPr marL="2743200" algn="l" defTabSz="914400" rtl="0" eaLnBrk="1" latinLnBrk="0" hangingPunct="1">
              <a:defRPr sz="2000" kern="1200">
                <a:solidFill>
                  <a:schemeClr val="tx2"/>
                </a:solidFill>
                <a:latin typeface="Arial" charset="0"/>
                <a:ea typeface="+mn-ea"/>
                <a:cs typeface="+mn-cs"/>
              </a:defRPr>
            </a:lvl7pPr>
            <a:lvl8pPr marL="3200400" algn="l" defTabSz="914400" rtl="0" eaLnBrk="1" latinLnBrk="0" hangingPunct="1">
              <a:defRPr sz="2000" kern="1200">
                <a:solidFill>
                  <a:schemeClr val="tx2"/>
                </a:solidFill>
                <a:latin typeface="Arial" charset="0"/>
                <a:ea typeface="+mn-ea"/>
                <a:cs typeface="+mn-cs"/>
              </a:defRPr>
            </a:lvl8pPr>
            <a:lvl9pPr marL="3657600" algn="l" defTabSz="914400" rtl="0" eaLnBrk="1" latinLnBrk="0" hangingPunct="1">
              <a:defRPr sz="2000" kern="1200">
                <a:solidFill>
                  <a:schemeClr val="tx2"/>
                </a:solidFill>
                <a:latin typeface="Arial" charset="0"/>
                <a:ea typeface="+mn-ea"/>
                <a:cs typeface="+mn-cs"/>
              </a:defRPr>
            </a:lvl9pPr>
          </a:lstStyle>
          <a:p>
            <a:pPr marL="0" marR="0" lvl="0" indent="0" algn="l" defTabSz="914400" rtl="0" eaLnBrk="1" fontAlgn="auto" latinLnBrk="0" hangingPunct="1">
              <a:lnSpc>
                <a:spcPct val="100000"/>
              </a:lnSpc>
              <a:spcBef>
                <a:spcPct val="20000"/>
              </a:spcBef>
              <a:spcAft>
                <a:spcPts val="600"/>
              </a:spcAft>
              <a:buClr>
                <a:srgbClr val="001A4A"/>
              </a:buClr>
              <a:buSzPct val="100000"/>
              <a:buFont typeface="Wingdings" pitchFamily="2" charset="2"/>
              <a:buNone/>
              <a:tabLst/>
              <a:defRPr/>
            </a:pPr>
            <a:r>
              <a:rPr kumimoji="0" lang="en-US" sz="1200" b="1" i="0" u="none" strike="noStrike" kern="1200" cap="none" spc="0" normalizeH="0" baseline="0" noProof="0" dirty="0" err="1">
                <a:ln>
                  <a:noFill/>
                </a:ln>
                <a:solidFill>
                  <a:schemeClr val="tx1"/>
                </a:solidFill>
                <a:effectLst/>
                <a:uLnTx/>
                <a:uFillTx/>
                <a:latin typeface="Arial" pitchFamily="34" charset="0"/>
                <a:cs typeface="Arial" pitchFamily="34" charset="0"/>
              </a:rPr>
              <a:t>Biographie</a:t>
            </a:r>
            <a:endParaRPr kumimoji="0" lang="en-US" sz="1200" b="1"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cxnSp>
        <p:nvCxnSpPr>
          <p:cNvPr id="11" name="Gerade Verbindung 18"/>
          <p:cNvCxnSpPr/>
          <p:nvPr userDrawn="1"/>
        </p:nvCxnSpPr>
        <p:spPr>
          <a:xfrm>
            <a:off x="425457" y="3429000"/>
            <a:ext cx="11334745" cy="0"/>
          </a:xfrm>
          <a:prstGeom prst="line">
            <a:avLst/>
          </a:prstGeom>
          <a:ln w="9525">
            <a:solidFill>
              <a:srgbClr val="605E5C"/>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a:off x="425457" y="2959495"/>
            <a:ext cx="2244559" cy="406265"/>
          </a:xfrm>
          <a:prstGeom prst="rect">
            <a:avLst/>
          </a:prstGeom>
          <a:noFill/>
        </p:spPr>
        <p:txBody>
          <a:bodyPr wrap="square" lIns="0" tIns="0" rIns="0" bIns="0" rtlCol="0">
            <a:spAutoFit/>
          </a:bodyPr>
          <a:lstStyle/>
          <a:p>
            <a:pPr defTabSz="449263">
              <a:lnSpc>
                <a:spcPct val="110000"/>
              </a:lnSpc>
              <a:tabLst>
                <a:tab pos="628650" algn="l"/>
              </a:tabLst>
            </a:pPr>
            <a:r>
              <a:rPr lang="en-US" sz="1200" b="1" dirty="0"/>
              <a:t>Tel. </a:t>
            </a:r>
            <a:r>
              <a:rPr lang="en-US" sz="1200" b="0" dirty="0"/>
              <a:t>	</a:t>
            </a:r>
            <a:r>
              <a:rPr lang="en-US" sz="1200" dirty="0"/>
              <a:t>+49.89.289.</a:t>
            </a:r>
          </a:p>
          <a:p>
            <a:pPr defTabSz="449263">
              <a:lnSpc>
                <a:spcPct val="110000"/>
              </a:lnSpc>
              <a:tabLst>
                <a:tab pos="806450" algn="l"/>
              </a:tabLst>
            </a:pPr>
            <a:r>
              <a:rPr lang="en-US" sz="1200" b="1" dirty="0"/>
              <a:t>E-Mail</a:t>
            </a:r>
            <a:r>
              <a:rPr lang="en-US" sz="1200" dirty="0"/>
              <a:t>	</a:t>
            </a:r>
          </a:p>
        </p:txBody>
      </p:sp>
      <p:sp>
        <p:nvSpPr>
          <p:cNvPr id="13" name="Textplatzhalter 28"/>
          <p:cNvSpPr>
            <a:spLocks noGrp="1"/>
          </p:cNvSpPr>
          <p:nvPr>
            <p:ph type="body" sz="quarter" idx="24" hasCustomPrompt="1"/>
          </p:nvPr>
        </p:nvSpPr>
        <p:spPr>
          <a:xfrm>
            <a:off x="1894875" y="2959492"/>
            <a:ext cx="937899" cy="230832"/>
          </a:xfrm>
          <a:prstGeom prst="rect">
            <a:avLst/>
          </a:prstGeom>
        </p:spPr>
        <p:txBody>
          <a:bodyPr lIns="0" tIns="0" rIns="0" bIns="0">
            <a:noAutofit/>
          </a:bodyPr>
          <a:lstStyle>
            <a:lvl1pPr>
              <a:defRPr sz="1200"/>
            </a:lvl1pPr>
          </a:lstStyle>
          <a:p>
            <a:pPr lvl="0"/>
            <a:r>
              <a:rPr lang="en-US" dirty="0"/>
              <a:t>&lt;Tel.&gt;</a:t>
            </a:r>
          </a:p>
        </p:txBody>
      </p:sp>
      <p:sp>
        <p:nvSpPr>
          <p:cNvPr id="14" name="Textplatzhalter 28"/>
          <p:cNvSpPr>
            <a:spLocks noGrp="1"/>
          </p:cNvSpPr>
          <p:nvPr>
            <p:ph type="body" sz="quarter" idx="25" hasCustomPrompt="1"/>
          </p:nvPr>
        </p:nvSpPr>
        <p:spPr>
          <a:xfrm>
            <a:off x="1066462" y="3158712"/>
            <a:ext cx="3153993" cy="230832"/>
          </a:xfrm>
          <a:prstGeom prst="rect">
            <a:avLst/>
          </a:prstGeom>
        </p:spPr>
        <p:txBody>
          <a:bodyPr lIns="0" tIns="0" rIns="0" bIns="0">
            <a:noAutofit/>
          </a:bodyPr>
          <a:lstStyle>
            <a:lvl1pPr>
              <a:defRPr sz="1200"/>
            </a:lvl1pPr>
          </a:lstStyle>
          <a:p>
            <a:pPr lvl="0"/>
            <a:r>
              <a:rPr lang="en-US" dirty="0"/>
              <a:t>&lt;E-Mail&gt;</a:t>
            </a:r>
          </a:p>
        </p:txBody>
      </p:sp>
      <p:sp>
        <p:nvSpPr>
          <p:cNvPr id="15" name="Textplatzhalter 4"/>
          <p:cNvSpPr>
            <a:spLocks noGrp="1"/>
          </p:cNvSpPr>
          <p:nvPr>
            <p:ph type="body" sz="quarter" idx="26" hasCustomPrompt="1"/>
          </p:nvPr>
        </p:nvSpPr>
        <p:spPr>
          <a:xfrm>
            <a:off x="425455" y="2275630"/>
            <a:ext cx="3876740" cy="230832"/>
          </a:xfrm>
          <a:prstGeom prst="rect">
            <a:avLst/>
          </a:prstGeom>
        </p:spPr>
        <p:txBody>
          <a:bodyPr lIns="0" tIns="0" rIns="0" bIns="0">
            <a:noAutofit/>
          </a:bodyPr>
          <a:lstStyle>
            <a:lvl1pPr>
              <a:defRPr sz="1200" b="1" baseline="0"/>
            </a:lvl1pPr>
          </a:lstStyle>
          <a:p>
            <a:pPr lvl="0"/>
            <a:r>
              <a:rPr lang="en-US" dirty="0"/>
              <a:t>Name Surname</a:t>
            </a:r>
          </a:p>
        </p:txBody>
      </p:sp>
      <p:sp>
        <p:nvSpPr>
          <p:cNvPr id="16" name="Textplatzhalter 4"/>
          <p:cNvSpPr>
            <a:spLocks noGrp="1"/>
          </p:cNvSpPr>
          <p:nvPr>
            <p:ph type="body" sz="quarter" idx="27" hasCustomPrompt="1"/>
          </p:nvPr>
        </p:nvSpPr>
        <p:spPr>
          <a:xfrm>
            <a:off x="425455" y="2506462"/>
            <a:ext cx="3876740" cy="230832"/>
          </a:xfrm>
          <a:prstGeom prst="rect">
            <a:avLst/>
          </a:prstGeom>
        </p:spPr>
        <p:txBody>
          <a:bodyPr lIns="0" tIns="0" rIns="0" bIns="0">
            <a:noAutofit/>
          </a:bodyPr>
          <a:lstStyle>
            <a:lvl1pPr>
              <a:lnSpc>
                <a:spcPct val="110000"/>
              </a:lnSpc>
              <a:defRPr sz="1200" b="0" baseline="0"/>
            </a:lvl1pPr>
          </a:lstStyle>
          <a:p>
            <a:pPr lvl="0"/>
            <a:r>
              <a:rPr lang="en-US" dirty="0"/>
              <a:t>Research Team TG-XX or project task description</a:t>
            </a:r>
          </a:p>
        </p:txBody>
      </p:sp>
      <p:sp>
        <p:nvSpPr>
          <p:cNvPr id="17" name="Textplatzhalter 4"/>
          <p:cNvSpPr>
            <a:spLocks noGrp="1"/>
          </p:cNvSpPr>
          <p:nvPr>
            <p:ph type="body" sz="quarter" idx="28" hasCustomPrompt="1"/>
          </p:nvPr>
        </p:nvSpPr>
        <p:spPr>
          <a:xfrm>
            <a:off x="425457" y="4159248"/>
            <a:ext cx="5375745" cy="2145303"/>
          </a:xfrm>
          <a:prstGeom prst="rect">
            <a:avLst/>
          </a:prstGeom>
        </p:spPr>
        <p:txBody>
          <a:bodyPr lIns="0" tIns="0" rIns="0" bIns="0" anchor="t">
            <a:noAutofit/>
          </a:bodyPr>
          <a:lstStyle>
            <a:lvl1pPr algn="just">
              <a:lnSpc>
                <a:spcPct val="110000"/>
              </a:lnSpc>
              <a:defRPr sz="1050" b="0" baseline="0">
                <a:latin typeface="+mn-lt"/>
              </a:defRPr>
            </a:lvl1pPr>
          </a:lstStyle>
          <a:p>
            <a:pPr lvl="0"/>
            <a:r>
              <a:rPr lang="en-US" noProof="0" dirty="0" err="1"/>
              <a:t>Biographietext</a:t>
            </a:r>
            <a:endParaRPr lang="en-US" noProof="0" dirty="0"/>
          </a:p>
        </p:txBody>
      </p:sp>
      <p:sp>
        <p:nvSpPr>
          <p:cNvPr id="18" name="Inhaltsplatzhalter 5"/>
          <p:cNvSpPr txBox="1">
            <a:spLocks/>
          </p:cNvSpPr>
          <p:nvPr userDrawn="1"/>
        </p:nvSpPr>
        <p:spPr>
          <a:xfrm>
            <a:off x="6384455" y="3838324"/>
            <a:ext cx="5153488" cy="184666"/>
          </a:xfrm>
          <a:prstGeom prst="rect">
            <a:avLst/>
          </a:prstGeom>
        </p:spPr>
        <p:txBody>
          <a:bodyPr vert="horz" wrap="square" lIns="0" tIns="0" rIns="0" bIns="0" rtlCol="0">
            <a:spAutoFit/>
          </a:bodyPr>
          <a:lstStyle>
            <a:defPPr>
              <a:defRPr lang="en-US"/>
            </a:defPPr>
            <a:lvl1pPr algn="l" rtl="0" fontAlgn="base">
              <a:spcBef>
                <a:spcPct val="0"/>
              </a:spcBef>
              <a:spcAft>
                <a:spcPct val="0"/>
              </a:spcAft>
              <a:defRPr sz="2000" kern="1200">
                <a:solidFill>
                  <a:schemeClr val="tx2"/>
                </a:solidFill>
                <a:latin typeface="Arial" charset="0"/>
                <a:ea typeface="+mn-ea"/>
                <a:cs typeface="+mn-cs"/>
              </a:defRPr>
            </a:lvl1pPr>
            <a:lvl2pPr marL="457200" algn="l" rtl="0" fontAlgn="base">
              <a:spcBef>
                <a:spcPct val="0"/>
              </a:spcBef>
              <a:spcAft>
                <a:spcPct val="0"/>
              </a:spcAft>
              <a:defRPr sz="2000" kern="1200">
                <a:solidFill>
                  <a:schemeClr val="tx2"/>
                </a:solidFill>
                <a:latin typeface="Arial" charset="0"/>
                <a:ea typeface="+mn-ea"/>
                <a:cs typeface="+mn-cs"/>
              </a:defRPr>
            </a:lvl2pPr>
            <a:lvl3pPr marL="914400" algn="l" rtl="0" fontAlgn="base">
              <a:spcBef>
                <a:spcPct val="0"/>
              </a:spcBef>
              <a:spcAft>
                <a:spcPct val="0"/>
              </a:spcAft>
              <a:defRPr sz="2000" kern="1200">
                <a:solidFill>
                  <a:schemeClr val="tx2"/>
                </a:solidFill>
                <a:latin typeface="Arial" charset="0"/>
                <a:ea typeface="+mn-ea"/>
                <a:cs typeface="+mn-cs"/>
              </a:defRPr>
            </a:lvl3pPr>
            <a:lvl4pPr marL="1371600" algn="l" rtl="0" fontAlgn="base">
              <a:spcBef>
                <a:spcPct val="0"/>
              </a:spcBef>
              <a:spcAft>
                <a:spcPct val="0"/>
              </a:spcAft>
              <a:defRPr sz="2000" kern="1200">
                <a:solidFill>
                  <a:schemeClr val="tx2"/>
                </a:solidFill>
                <a:latin typeface="Arial" charset="0"/>
                <a:ea typeface="+mn-ea"/>
                <a:cs typeface="+mn-cs"/>
              </a:defRPr>
            </a:lvl4pPr>
            <a:lvl5pPr marL="1828800" algn="l" rtl="0" fontAlgn="base">
              <a:spcBef>
                <a:spcPct val="0"/>
              </a:spcBef>
              <a:spcAft>
                <a:spcPct val="0"/>
              </a:spcAft>
              <a:defRPr sz="2000" kern="1200">
                <a:solidFill>
                  <a:schemeClr val="tx2"/>
                </a:solidFill>
                <a:latin typeface="Arial" charset="0"/>
                <a:ea typeface="+mn-ea"/>
                <a:cs typeface="+mn-cs"/>
              </a:defRPr>
            </a:lvl5pPr>
            <a:lvl6pPr marL="2286000" algn="l" defTabSz="914400" rtl="0" eaLnBrk="1" latinLnBrk="0" hangingPunct="1">
              <a:defRPr sz="2000" kern="1200">
                <a:solidFill>
                  <a:schemeClr val="tx2"/>
                </a:solidFill>
                <a:latin typeface="Arial" charset="0"/>
                <a:ea typeface="+mn-ea"/>
                <a:cs typeface="+mn-cs"/>
              </a:defRPr>
            </a:lvl6pPr>
            <a:lvl7pPr marL="2743200" algn="l" defTabSz="914400" rtl="0" eaLnBrk="1" latinLnBrk="0" hangingPunct="1">
              <a:defRPr sz="2000" kern="1200">
                <a:solidFill>
                  <a:schemeClr val="tx2"/>
                </a:solidFill>
                <a:latin typeface="Arial" charset="0"/>
                <a:ea typeface="+mn-ea"/>
                <a:cs typeface="+mn-cs"/>
              </a:defRPr>
            </a:lvl7pPr>
            <a:lvl8pPr marL="3200400" algn="l" defTabSz="914400" rtl="0" eaLnBrk="1" latinLnBrk="0" hangingPunct="1">
              <a:defRPr sz="2000" kern="1200">
                <a:solidFill>
                  <a:schemeClr val="tx2"/>
                </a:solidFill>
                <a:latin typeface="Arial" charset="0"/>
                <a:ea typeface="+mn-ea"/>
                <a:cs typeface="+mn-cs"/>
              </a:defRPr>
            </a:lvl8pPr>
            <a:lvl9pPr marL="3657600" algn="l" defTabSz="914400" rtl="0" eaLnBrk="1" latinLnBrk="0" hangingPunct="1">
              <a:defRPr sz="2000" kern="1200">
                <a:solidFill>
                  <a:schemeClr val="tx2"/>
                </a:solidFill>
                <a:latin typeface="Arial" charset="0"/>
                <a:ea typeface="+mn-ea"/>
                <a:cs typeface="+mn-cs"/>
              </a:defRPr>
            </a:lvl9pPr>
          </a:lstStyle>
          <a:p>
            <a:pPr marL="0" marR="0" lvl="0" indent="0" algn="l" defTabSz="914400" rtl="0" eaLnBrk="1" fontAlgn="auto" latinLnBrk="0" hangingPunct="1">
              <a:lnSpc>
                <a:spcPct val="100000"/>
              </a:lnSpc>
              <a:spcBef>
                <a:spcPct val="20000"/>
              </a:spcBef>
              <a:spcAft>
                <a:spcPts val="600"/>
              </a:spcAft>
              <a:buClr>
                <a:srgbClr val="001A4A"/>
              </a:buClr>
              <a:buSzPct val="100000"/>
              <a:buFont typeface="Wingdings" pitchFamily="2" charset="2"/>
              <a:buNone/>
              <a:tabLst/>
              <a:defRPr/>
            </a:pPr>
            <a:r>
              <a:rPr kumimoji="0" lang="en-US" sz="1200" b="1" i="0" u="none" strike="noStrike" kern="1200" cap="none" spc="0" normalizeH="0" baseline="0" noProof="0" dirty="0" err="1">
                <a:ln>
                  <a:noFill/>
                </a:ln>
                <a:solidFill>
                  <a:schemeClr val="tx1"/>
                </a:solidFill>
                <a:effectLst/>
                <a:uLnTx/>
                <a:uFillTx/>
                <a:latin typeface="Arial" pitchFamily="34" charset="0"/>
                <a:cs typeface="Arial" pitchFamily="34" charset="0"/>
              </a:rPr>
              <a:t>Biographie</a:t>
            </a:r>
            <a:endParaRPr kumimoji="0" lang="en-US" sz="1200" b="1"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sp>
        <p:nvSpPr>
          <p:cNvPr id="24" name="Textplatzhalter 4"/>
          <p:cNvSpPr>
            <a:spLocks noGrp="1"/>
          </p:cNvSpPr>
          <p:nvPr>
            <p:ph type="body" sz="quarter" idx="33" hasCustomPrompt="1"/>
          </p:nvPr>
        </p:nvSpPr>
        <p:spPr>
          <a:xfrm>
            <a:off x="6384456" y="4159248"/>
            <a:ext cx="5375745" cy="2145303"/>
          </a:xfrm>
          <a:prstGeom prst="rect">
            <a:avLst/>
          </a:prstGeom>
        </p:spPr>
        <p:txBody>
          <a:bodyPr lIns="0" tIns="0" rIns="0" bIns="0" anchor="t">
            <a:noAutofit/>
          </a:bodyPr>
          <a:lstStyle>
            <a:lvl1pPr algn="just">
              <a:lnSpc>
                <a:spcPct val="110000"/>
              </a:lnSpc>
              <a:defRPr sz="1050" b="0" baseline="0">
                <a:latin typeface="+mn-lt"/>
              </a:defRPr>
            </a:lvl1pPr>
          </a:lstStyle>
          <a:p>
            <a:pPr lvl="0"/>
            <a:r>
              <a:rPr lang="en-US" dirty="0" err="1"/>
              <a:t>Biographietext</a:t>
            </a:r>
            <a:endParaRPr lang="en-US" dirty="0"/>
          </a:p>
        </p:txBody>
      </p:sp>
      <p:sp>
        <p:nvSpPr>
          <p:cNvPr id="53" name="Foliennummernplatzhalter 3"/>
          <p:cNvSpPr>
            <a:spLocks noGrp="1"/>
          </p:cNvSpPr>
          <p:nvPr>
            <p:ph type="sldNum" sz="quarter" idx="4"/>
          </p:nvPr>
        </p:nvSpPr>
        <p:spPr>
          <a:xfrm>
            <a:off x="11298419" y="6586188"/>
            <a:ext cx="461783" cy="152349"/>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en-US" smtClean="0"/>
              <a:pPr algn="r">
                <a:lnSpc>
                  <a:spcPct val="110000"/>
                </a:lnSpc>
              </a:pPr>
              <a:t>‹#›</a:t>
            </a:fld>
            <a:endParaRPr lang="en-US" dirty="0"/>
          </a:p>
        </p:txBody>
      </p:sp>
      <p:sp>
        <p:nvSpPr>
          <p:cNvPr id="25" name="Bildplatzhalter 49"/>
          <p:cNvSpPr>
            <a:spLocks noGrp="1"/>
          </p:cNvSpPr>
          <p:nvPr>
            <p:ph type="pic" sz="quarter" idx="34" hasCustomPrompt="1"/>
          </p:nvPr>
        </p:nvSpPr>
        <p:spPr>
          <a:xfrm>
            <a:off x="4997641" y="2273885"/>
            <a:ext cx="804425"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en-US" dirty="0"/>
              <a:t>Picture</a:t>
            </a:r>
          </a:p>
        </p:txBody>
      </p:sp>
      <p:sp>
        <p:nvSpPr>
          <p:cNvPr id="26" name="Bildplatzhalter 49"/>
          <p:cNvSpPr>
            <a:spLocks noGrp="1"/>
          </p:cNvSpPr>
          <p:nvPr>
            <p:ph type="pic" sz="quarter" idx="40" hasCustomPrompt="1"/>
          </p:nvPr>
        </p:nvSpPr>
        <p:spPr>
          <a:xfrm>
            <a:off x="10955776" y="2273885"/>
            <a:ext cx="804425" cy="1044235"/>
          </a:xfrm>
          <a:prstGeom prst="rect">
            <a:avLst/>
          </a:prstGeom>
          <a:solidFill>
            <a:srgbClr val="D9DADB"/>
          </a:solidFill>
          <a:ln w="9525" cap="flat" cmpd="sng" algn="ctr">
            <a:solidFill>
              <a:srgbClr val="58585A"/>
            </a:solidFill>
            <a:prstDash val="solid"/>
            <a:round/>
            <a:headEnd type="none" w="med" len="med"/>
            <a:tailEnd type="none" w="med" len="med"/>
          </a:ln>
        </p:spPr>
        <p:txBody>
          <a:bodyPr/>
          <a:lstStyle>
            <a:lvl1pPr>
              <a:defRPr sz="900"/>
            </a:lvl1pPr>
          </a:lstStyle>
          <a:p>
            <a:r>
              <a:rPr lang="en-US" dirty="0"/>
              <a:t>Picture</a:t>
            </a:r>
          </a:p>
        </p:txBody>
      </p:sp>
      <p:sp>
        <p:nvSpPr>
          <p:cNvPr id="34" name="Textfeld 33"/>
          <p:cNvSpPr txBox="1"/>
          <p:nvPr userDrawn="1"/>
        </p:nvSpPr>
        <p:spPr>
          <a:xfrm>
            <a:off x="6384457" y="2959495"/>
            <a:ext cx="2244559" cy="406265"/>
          </a:xfrm>
          <a:prstGeom prst="rect">
            <a:avLst/>
          </a:prstGeom>
          <a:noFill/>
        </p:spPr>
        <p:txBody>
          <a:bodyPr wrap="square" lIns="0" tIns="0" rIns="0" bIns="0" rtlCol="0">
            <a:spAutoFit/>
          </a:bodyPr>
          <a:lstStyle/>
          <a:p>
            <a:pPr defTabSz="449263">
              <a:lnSpc>
                <a:spcPct val="110000"/>
              </a:lnSpc>
              <a:tabLst>
                <a:tab pos="628650" algn="l"/>
              </a:tabLst>
            </a:pPr>
            <a:r>
              <a:rPr lang="en-US" sz="1200" b="1" dirty="0"/>
              <a:t>Tel. </a:t>
            </a:r>
            <a:r>
              <a:rPr lang="en-US" sz="1200" b="0" dirty="0"/>
              <a:t>	</a:t>
            </a:r>
            <a:r>
              <a:rPr lang="en-US" sz="1200" dirty="0"/>
              <a:t>+49.89.289.</a:t>
            </a:r>
          </a:p>
          <a:p>
            <a:pPr defTabSz="449263">
              <a:lnSpc>
                <a:spcPct val="110000"/>
              </a:lnSpc>
              <a:tabLst>
                <a:tab pos="806450" algn="l"/>
              </a:tabLst>
            </a:pPr>
            <a:r>
              <a:rPr lang="en-US" sz="1200" b="1" dirty="0"/>
              <a:t>E-Mail</a:t>
            </a:r>
            <a:r>
              <a:rPr lang="en-US" sz="1200" dirty="0"/>
              <a:t>	</a:t>
            </a:r>
          </a:p>
        </p:txBody>
      </p:sp>
      <p:sp>
        <p:nvSpPr>
          <p:cNvPr id="35" name="Textplatzhalter 28"/>
          <p:cNvSpPr>
            <a:spLocks noGrp="1"/>
          </p:cNvSpPr>
          <p:nvPr>
            <p:ph type="body" sz="quarter" idx="41" hasCustomPrompt="1"/>
          </p:nvPr>
        </p:nvSpPr>
        <p:spPr>
          <a:xfrm>
            <a:off x="7853875" y="2959492"/>
            <a:ext cx="937899" cy="230832"/>
          </a:xfrm>
          <a:prstGeom prst="rect">
            <a:avLst/>
          </a:prstGeom>
        </p:spPr>
        <p:txBody>
          <a:bodyPr lIns="0" tIns="0" rIns="0" bIns="0">
            <a:noAutofit/>
          </a:bodyPr>
          <a:lstStyle>
            <a:lvl1pPr>
              <a:defRPr sz="1200"/>
            </a:lvl1pPr>
          </a:lstStyle>
          <a:p>
            <a:pPr lvl="0"/>
            <a:r>
              <a:rPr lang="en-US" dirty="0"/>
              <a:t>&lt;Tel.&gt;</a:t>
            </a:r>
          </a:p>
        </p:txBody>
      </p:sp>
      <p:sp>
        <p:nvSpPr>
          <p:cNvPr id="36" name="Textplatzhalter 28"/>
          <p:cNvSpPr>
            <a:spLocks noGrp="1"/>
          </p:cNvSpPr>
          <p:nvPr>
            <p:ph type="body" sz="quarter" idx="42" hasCustomPrompt="1"/>
          </p:nvPr>
        </p:nvSpPr>
        <p:spPr>
          <a:xfrm>
            <a:off x="7025462" y="3158712"/>
            <a:ext cx="3153993" cy="230832"/>
          </a:xfrm>
          <a:prstGeom prst="rect">
            <a:avLst/>
          </a:prstGeom>
        </p:spPr>
        <p:txBody>
          <a:bodyPr lIns="0" tIns="0" rIns="0" bIns="0">
            <a:noAutofit/>
          </a:bodyPr>
          <a:lstStyle>
            <a:lvl1pPr>
              <a:defRPr sz="1200"/>
            </a:lvl1pPr>
          </a:lstStyle>
          <a:p>
            <a:pPr lvl="0"/>
            <a:r>
              <a:rPr lang="en-US" dirty="0"/>
              <a:t>&lt;E-Mail&gt;</a:t>
            </a:r>
          </a:p>
        </p:txBody>
      </p:sp>
      <p:sp>
        <p:nvSpPr>
          <p:cNvPr id="37" name="Textplatzhalter 4"/>
          <p:cNvSpPr>
            <a:spLocks noGrp="1"/>
          </p:cNvSpPr>
          <p:nvPr>
            <p:ph type="body" sz="quarter" idx="43" hasCustomPrompt="1"/>
          </p:nvPr>
        </p:nvSpPr>
        <p:spPr>
          <a:xfrm>
            <a:off x="6384455" y="2275630"/>
            <a:ext cx="3876740" cy="230832"/>
          </a:xfrm>
          <a:prstGeom prst="rect">
            <a:avLst/>
          </a:prstGeom>
        </p:spPr>
        <p:txBody>
          <a:bodyPr lIns="0" tIns="0" rIns="0" bIns="0">
            <a:noAutofit/>
          </a:bodyPr>
          <a:lstStyle>
            <a:lvl1pPr>
              <a:defRPr sz="1200" b="1" baseline="0"/>
            </a:lvl1pPr>
          </a:lstStyle>
          <a:p>
            <a:pPr lvl="0"/>
            <a:r>
              <a:rPr lang="en-US" dirty="0"/>
              <a:t>Name Surname</a:t>
            </a:r>
          </a:p>
        </p:txBody>
      </p:sp>
      <p:sp>
        <p:nvSpPr>
          <p:cNvPr id="38" name="Textplatzhalter 4"/>
          <p:cNvSpPr>
            <a:spLocks noGrp="1"/>
          </p:cNvSpPr>
          <p:nvPr>
            <p:ph type="body" sz="quarter" idx="44" hasCustomPrompt="1"/>
          </p:nvPr>
        </p:nvSpPr>
        <p:spPr>
          <a:xfrm>
            <a:off x="6384455" y="2506462"/>
            <a:ext cx="3876740" cy="230832"/>
          </a:xfrm>
          <a:prstGeom prst="rect">
            <a:avLst/>
          </a:prstGeom>
        </p:spPr>
        <p:txBody>
          <a:bodyPr lIns="0" tIns="0" rIns="0" bIns="0">
            <a:noAutofit/>
          </a:bodyPr>
          <a:lstStyle>
            <a:lvl1pPr>
              <a:lnSpc>
                <a:spcPct val="110000"/>
              </a:lnSpc>
              <a:defRPr sz="1200" b="0" baseline="0"/>
            </a:lvl1pPr>
          </a:lstStyle>
          <a:p>
            <a:pPr lvl="0"/>
            <a:r>
              <a:rPr lang="en-US" dirty="0"/>
              <a:t>Research Team TG-XX or project task description</a:t>
            </a:r>
          </a:p>
        </p:txBody>
      </p:sp>
    </p:spTree>
    <p:extLst>
      <p:ext uri="{BB962C8B-B14F-4D97-AF65-F5344CB8AC3E}">
        <p14:creationId xmlns:p14="http://schemas.microsoft.com/office/powerpoint/2010/main" val="174610813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image" Target="../media/image2.w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6.emf"/><Relationship Id="rId2" Type="http://schemas.openxmlformats.org/officeDocument/2006/relationships/slideLayout" Target="../slideLayouts/slideLayout6.xml"/><Relationship Id="rId16" Type="http://schemas.openxmlformats.org/officeDocument/2006/relationships/oleObject" Target="../embeddings/oleObject3.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4.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6"/>
            </p:custDataLst>
            <p:extLst>
              <p:ext uri="{D42A27DB-BD31-4B8C-83A1-F6EECF244321}">
                <p14:modId xmlns:p14="http://schemas.microsoft.com/office/powerpoint/2010/main" val="155158815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2119" y="1591"/>
                        <a:ext cx="2116" cy="1587"/>
                      </a:xfrm>
                      <a:prstGeom prst="rect">
                        <a:avLst/>
                      </a:prstGeom>
                    </p:spPr>
                  </p:pic>
                </p:oleObj>
              </mc:Fallback>
            </mc:AlternateContent>
          </a:graphicData>
        </a:graphic>
      </p:graphicFrame>
      <p:sp>
        <p:nvSpPr>
          <p:cNvPr id="11" name="Textfeld 10"/>
          <p:cNvSpPr txBox="1"/>
          <p:nvPr userDrawn="1"/>
        </p:nvSpPr>
        <p:spPr>
          <a:xfrm>
            <a:off x="427201" y="314326"/>
            <a:ext cx="10266200" cy="348403"/>
          </a:xfrm>
          <a:prstGeom prst="rect">
            <a:avLst/>
          </a:prstGeom>
          <a:noFill/>
        </p:spPr>
        <p:txBody>
          <a:bodyPr wrap="square" lIns="0" tIns="0" rIns="0" bIns="0" rtlCol="0">
            <a:spAutoFit/>
          </a:bodyPr>
          <a:lstStyle/>
          <a:p>
            <a:pPr>
              <a:lnSpc>
                <a:spcPct val="94000"/>
              </a:lnSpc>
              <a:tabLst/>
            </a:pPr>
            <a:r>
              <a:rPr lang="en-US" sz="800" dirty="0">
                <a:solidFill>
                  <a:schemeClr val="tx2"/>
                </a:solidFill>
                <a:latin typeface="+mn-lt"/>
              </a:rPr>
              <a:t>Institute for Machine Tools and Industrial Management</a:t>
            </a:r>
          </a:p>
          <a:p>
            <a:pPr>
              <a:lnSpc>
                <a:spcPct val="94000"/>
              </a:lnSpc>
              <a:tabLst/>
            </a:pPr>
            <a:r>
              <a:rPr lang="en-US" sz="800" dirty="0">
                <a:solidFill>
                  <a:schemeClr val="tx2"/>
                </a:solidFill>
                <a:latin typeface="+mn-lt"/>
              </a:rPr>
              <a:t>TUM School of</a:t>
            </a:r>
            <a:r>
              <a:rPr lang="en-US" sz="800" baseline="0" dirty="0">
                <a:solidFill>
                  <a:schemeClr val="tx2"/>
                </a:solidFill>
                <a:latin typeface="+mn-lt"/>
              </a:rPr>
              <a:t> Engineering and Design</a:t>
            </a:r>
            <a:endParaRPr lang="en-US" sz="800" dirty="0">
              <a:solidFill>
                <a:schemeClr val="tx2"/>
              </a:solidFill>
              <a:latin typeface="+mn-lt"/>
            </a:endParaRPr>
          </a:p>
          <a:p>
            <a:pPr>
              <a:lnSpc>
                <a:spcPct val="94000"/>
              </a:lnSpc>
              <a:tabLst/>
            </a:pPr>
            <a:r>
              <a:rPr lang="en-US" sz="800" dirty="0">
                <a:solidFill>
                  <a:schemeClr val="tx2"/>
                </a:solidFill>
                <a:latin typeface="+mn-lt"/>
              </a:rPr>
              <a:t>Technical University Munich</a:t>
            </a:r>
          </a:p>
        </p:txBody>
      </p:sp>
      <p:sp>
        <p:nvSpPr>
          <p:cNvPr id="18" name="Foliennummernplatzhalter 17"/>
          <p:cNvSpPr>
            <a:spLocks noGrp="1"/>
          </p:cNvSpPr>
          <p:nvPr>
            <p:ph type="sldNum" sz="quarter" idx="4"/>
          </p:nvPr>
        </p:nvSpPr>
        <p:spPr>
          <a:xfrm>
            <a:off x="11353192" y="6541011"/>
            <a:ext cx="415827" cy="210947"/>
          </a:xfrm>
          <a:prstGeom prst="rect">
            <a:avLst/>
          </a:prstGeom>
        </p:spPr>
        <p:txBody>
          <a:bodyPr vert="horz" lIns="0" tIns="0" rIns="0" bIns="0" rtlCol="0" anchor="ctr"/>
          <a:lstStyle>
            <a:lvl1pPr algn="r">
              <a:defRPr sz="900">
                <a:solidFill>
                  <a:schemeClr val="tx1"/>
                </a:solidFill>
              </a:defRPr>
            </a:lvl1pPr>
          </a:lstStyle>
          <a:p>
            <a:fld id="{836AA3E1-9984-401A-8549-79C579D49C87}" type="slidenum">
              <a:rPr lang="en-US" smtClean="0"/>
              <a:pPr/>
              <a:t>‹#›</a:t>
            </a:fld>
            <a:endParaRPr lang="en-US" dirty="0"/>
          </a:p>
        </p:txBody>
      </p:sp>
      <p:pic>
        <p:nvPicPr>
          <p:cNvPr id="9" name="Bild 6" descr="20150416 tum logo blau png final.png"/>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1160665" y="324685"/>
            <a:ext cx="608352" cy="320400"/>
          </a:xfrm>
          <a:prstGeom prst="rect">
            <a:avLst/>
          </a:prstGeom>
        </p:spPr>
      </p:pic>
    </p:spTree>
  </p:cSld>
  <p:clrMap bg1="lt1" tx1="dk1" bg2="lt2" tx2="dk2" accent1="accent1" accent2="accent2" accent3="accent3" accent4="accent4" accent5="accent5" accent6="accent6" hlink="hlink" folHlink="folHlink"/>
  <p:sldLayoutIdLst>
    <p:sldLayoutId id="2147483721" r:id="rId1"/>
    <p:sldLayoutId id="2147483675" r:id="rId2"/>
    <p:sldLayoutId id="2147483718" r:id="rId3"/>
    <p:sldLayoutId id="2147483720" r:id="rId4"/>
  </p:sldLayoutIdLst>
  <p:hf hdr="0" dt="0"/>
  <p:txStyles>
    <p:titleStyle>
      <a:lvl1pPr algn="l" rtl="0" eaLnBrk="1" fontAlgn="base" hangingPunct="1">
        <a:lnSpc>
          <a:spcPct val="125000"/>
        </a:lnSpc>
        <a:spcBef>
          <a:spcPct val="0"/>
        </a:spcBef>
        <a:spcAft>
          <a:spcPct val="0"/>
        </a:spcAft>
        <a:defRPr lang="de-DE" sz="3000" b="0" kern="1200" smtClean="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lang="de-DE" sz="1600" kern="1200" baseline="0" smtClean="0">
          <a:solidFill>
            <a:srgbClr val="000000"/>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lang="de-DE" sz="1600" kern="1200" smtClean="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lang="de-DE" sz="14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5"/>
            </p:custDataLst>
            <p:extLst>
              <p:ext uri="{D42A27DB-BD31-4B8C-83A1-F6EECF244321}">
                <p14:modId xmlns:p14="http://schemas.microsoft.com/office/powerpoint/2010/main" val="353069214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16" imgW="270" imgH="270" progId="TCLayout.ActiveDocument.1">
                  <p:embed/>
                </p:oleObj>
              </mc:Choice>
              <mc:Fallback>
                <p:oleObj name="think-cell Folie" r:id="rId16" imgW="270" imgH="270" progId="TCLayout.ActiveDocument.1">
                  <p:embed/>
                  <p:pic>
                    <p:nvPicPr>
                      <p:cNvPr id="2" name="Objekt 1" hidden="1"/>
                      <p:cNvPicPr/>
                      <p:nvPr/>
                    </p:nvPicPr>
                    <p:blipFill>
                      <a:blip r:embed="rId17"/>
                      <a:stretch>
                        <a:fillRect/>
                      </a:stretch>
                    </p:blipFill>
                    <p:spPr>
                      <a:xfrm>
                        <a:off x="2119" y="1591"/>
                        <a:ext cx="2116" cy="1587"/>
                      </a:xfrm>
                      <a:prstGeom prst="rect">
                        <a:avLst/>
                      </a:prstGeom>
                    </p:spPr>
                  </p:pic>
                </p:oleObj>
              </mc:Fallback>
            </mc:AlternateContent>
          </a:graphicData>
        </a:graphic>
      </p:graphicFrame>
      <p:sp>
        <p:nvSpPr>
          <p:cNvPr id="4" name="Foliennummernplatzhalter 3"/>
          <p:cNvSpPr>
            <a:spLocks noGrp="1"/>
          </p:cNvSpPr>
          <p:nvPr>
            <p:ph type="sldNum" sz="quarter" idx="4"/>
          </p:nvPr>
        </p:nvSpPr>
        <p:spPr>
          <a:xfrm>
            <a:off x="11307237" y="6586188"/>
            <a:ext cx="461783" cy="140488"/>
          </a:xfrm>
          <a:prstGeom prst="rect">
            <a:avLst/>
          </a:prstGeom>
          <a:noFill/>
        </p:spPr>
        <p:txBody>
          <a:bodyPr wrap="square" lIns="0" tIns="0" rIns="0" bIns="0" rtlCol="0">
            <a:spAutoFit/>
          </a:bodyPr>
          <a:lstStyle>
            <a:lvl1pPr>
              <a:defRPr lang="de-DE" sz="900" smtClean="0"/>
            </a:lvl1pPr>
          </a:lstStyle>
          <a:p>
            <a:pPr algn="r">
              <a:lnSpc>
                <a:spcPct val="110000"/>
              </a:lnSpc>
            </a:pPr>
            <a:fld id="{0150336B-E114-481A-A5C5-087F4C05B58E}" type="slidenum">
              <a:rPr lang="en-US" smtClean="0"/>
              <a:pPr algn="r">
                <a:lnSpc>
                  <a:spcPct val="110000"/>
                </a:lnSpc>
              </a:pPr>
              <a:t>‹#›</a:t>
            </a:fld>
            <a:endParaRPr lang="en-US" dirty="0"/>
          </a:p>
        </p:txBody>
      </p:sp>
      <p:sp>
        <p:nvSpPr>
          <p:cNvPr id="12" name="Textfeld 11"/>
          <p:cNvSpPr txBox="1"/>
          <p:nvPr userDrawn="1"/>
        </p:nvSpPr>
        <p:spPr>
          <a:xfrm>
            <a:off x="432590" y="6575889"/>
            <a:ext cx="5163999" cy="144655"/>
          </a:xfrm>
          <a:prstGeom prst="rect">
            <a:avLst/>
          </a:prstGeom>
          <a:noFill/>
        </p:spPr>
        <p:txBody>
          <a:bodyPr wrap="square" lIns="0" tIns="0" rIns="0" bIns="0" rtlCol="0">
            <a:spAutoFit/>
          </a:bodyPr>
          <a:lstStyle/>
          <a:p>
            <a:pPr algn="l">
              <a:lnSpc>
                <a:spcPct val="114000"/>
              </a:lnSpc>
            </a:pPr>
            <a:r>
              <a:rPr lang="en-US" sz="900" b="0" i="0" dirty="0">
                <a:solidFill>
                  <a:schemeClr val="tx1"/>
                </a:solidFill>
                <a:latin typeface="+mn-lt"/>
              </a:rPr>
              <a:t>© </a:t>
            </a:r>
            <a:r>
              <a:rPr lang="en-US" sz="900" b="0" i="1" dirty="0">
                <a:solidFill>
                  <a:schemeClr val="tx1"/>
                </a:solidFill>
                <a:latin typeface="+mn-lt"/>
              </a:rPr>
              <a:t>iwb</a:t>
            </a:r>
            <a:r>
              <a:rPr lang="en-US" sz="900" b="0" i="0" baseline="0" dirty="0">
                <a:solidFill>
                  <a:schemeClr val="tx1"/>
                </a:solidFill>
                <a:latin typeface="+mn-lt"/>
              </a:rPr>
              <a:t> – </a:t>
            </a:r>
            <a:r>
              <a:rPr lang="en-US" sz="900" b="0" dirty="0">
                <a:solidFill>
                  <a:schemeClr val="tx1"/>
                </a:solidFill>
                <a:latin typeface="+mn-lt"/>
              </a:rPr>
              <a:t>Institute for Machine Tools and Industrial Management</a:t>
            </a:r>
          </a:p>
        </p:txBody>
      </p:sp>
      <p:pic>
        <p:nvPicPr>
          <p:cNvPr id="6" name="Bild 6" descr="20150416 tum logo blau png final.png"/>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1160665" y="324685"/>
            <a:ext cx="608352" cy="320400"/>
          </a:xfrm>
          <a:prstGeom prst="rect">
            <a:avLst/>
          </a:prstGeom>
        </p:spPr>
      </p:pic>
    </p:spTree>
  </p:cSld>
  <p:clrMap bg1="lt1" tx1="dk1" bg2="lt2" tx2="dk2" accent1="accent1" accent2="accent2" accent3="accent3" accent4="accent4" accent5="accent5" accent6="accent6" hlink="hlink" folHlink="folHlink"/>
  <p:sldLayoutIdLst>
    <p:sldLayoutId id="2147483654" r:id="rId1"/>
    <p:sldLayoutId id="2147483722" r:id="rId2"/>
    <p:sldLayoutId id="2147483725" r:id="rId3"/>
    <p:sldLayoutId id="2147483656" r:id="rId4"/>
    <p:sldLayoutId id="2147483714" r:id="rId5"/>
    <p:sldLayoutId id="2147483715" r:id="rId6"/>
    <p:sldLayoutId id="2147483726" r:id="rId7"/>
    <p:sldLayoutId id="2147483727" r:id="rId8"/>
    <p:sldLayoutId id="2147483728" r:id="rId9"/>
    <p:sldLayoutId id="2147483716" r:id="rId10"/>
    <p:sldLayoutId id="2147483717" r:id="rId11"/>
    <p:sldLayoutId id="2147483724" r:id="rId12"/>
    <p:sldLayoutId id="2147483723" r:id="rId13"/>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81.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slide" Target="slide11.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notesSlide" Target="../notesSlides/notesSlide11.xml"/><Relationship Id="rId2" Type="http://schemas.openxmlformats.org/officeDocument/2006/relationships/tags" Target="../tags/tag83.xml"/><Relationship Id="rId16" Type="http://schemas.openxmlformats.org/officeDocument/2006/relationships/slideLayout" Target="../slideLayouts/slideLayout5.xml"/><Relationship Id="rId20" Type="http://schemas.openxmlformats.org/officeDocument/2006/relationships/slide" Target="slide2.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tags" Target="../tags/tag96.xml"/><Relationship Id="rId10" Type="http://schemas.openxmlformats.org/officeDocument/2006/relationships/tags" Target="../tags/tag91.xml"/><Relationship Id="rId19" Type="http://schemas.openxmlformats.org/officeDocument/2006/relationships/slide" Target="slide7.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99.xml"/><Relationship Id="rId7" Type="http://schemas.openxmlformats.org/officeDocument/2006/relationships/slideLayout" Target="../slideLayouts/slideLayout6.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03.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0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tags" Target="../tags/tag104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05.xml"/><Relationship Id="rId6" Type="http://schemas.openxmlformats.org/officeDocument/2006/relationships/image" Target="../media/image17.png"/><Relationship Id="rId5" Type="http://schemas.openxmlformats.org/officeDocument/2006/relationships/tags" Target="../tags/tag1050.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108.xml"/><Relationship Id="rId7" Type="http://schemas.openxmlformats.org/officeDocument/2006/relationships/slideLayout" Target="../slideLayouts/slideLayout6.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12.xml"/></Relationships>
</file>

<file path=ppt/slides/_rels/slide18.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image" Target="../media/image100.png"/><Relationship Id="rId2" Type="http://schemas.openxmlformats.org/officeDocument/2006/relationships/tags" Target="../tags/tag114.xml"/><Relationship Id="rId16" Type="http://schemas.openxmlformats.org/officeDocument/2006/relationships/tags" Target="../tags/tag440.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5" Type="http://schemas.openxmlformats.org/officeDocument/2006/relationships/slideLayout" Target="../slideLayouts/slideLayout6.xml"/><Relationship Id="rId10" Type="http://schemas.openxmlformats.org/officeDocument/2006/relationships/tags" Target="../tags/tag122.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tags" Target="../tags/tag12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slide" Target="slide11.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notesSlide" Target="../notesSlides/notesSlide2.xml"/><Relationship Id="rId2" Type="http://schemas.openxmlformats.org/officeDocument/2006/relationships/tags" Target="../tags/tag11.xml"/><Relationship Id="rId16" Type="http://schemas.openxmlformats.org/officeDocument/2006/relationships/slideLayout" Target="../slideLayouts/slideLayout5.xml"/><Relationship Id="rId20" Type="http://schemas.openxmlformats.org/officeDocument/2006/relationships/slide" Target="slide2.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tags" Target="../tags/tag24.xml"/><Relationship Id="rId10" Type="http://schemas.openxmlformats.org/officeDocument/2006/relationships/tags" Target="../tags/tag19.xml"/><Relationship Id="rId19" Type="http://schemas.openxmlformats.org/officeDocument/2006/relationships/slide" Target="slide7.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ustomXml" Target="../ink/ink2.xml"/><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customXml" Target="../ink/ink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8.xml"/><Relationship Id="rId1" Type="http://schemas.openxmlformats.org/officeDocument/2006/relationships/tags" Target="../tags/tag12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8.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3" Type="http://schemas.openxmlformats.org/officeDocument/2006/relationships/tags" Target="../tags/tag32.xml"/><Relationship Id="rId21" Type="http://schemas.openxmlformats.org/officeDocument/2006/relationships/slideLayout" Target="../slideLayouts/slideLayout5.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tags" Target="../tags/tag44.xml"/><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image" Target="../media/image9.png"/><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tags" Target="../tags/tag500.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notesSlide" Target="../notesSlides/notesSlide6.xml"/><Relationship Id="rId5" Type="http://schemas.openxmlformats.org/officeDocument/2006/relationships/tags" Target="../tags/tag54.xml"/><Relationship Id="rId15" Type="http://schemas.openxmlformats.org/officeDocument/2006/relationships/image" Target="../media/image10.png"/><Relationship Id="rId10" Type="http://schemas.openxmlformats.org/officeDocument/2006/relationships/slideLayout" Target="../slideLayouts/slideLayout6.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510.xml"/></Relationships>
</file>

<file path=ppt/slides/_rels/slide7.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slide" Target="slide11.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notesSlide" Target="../notesSlides/notesSlide7.xml"/><Relationship Id="rId2" Type="http://schemas.openxmlformats.org/officeDocument/2006/relationships/tags" Target="../tags/tag60.xml"/><Relationship Id="rId16" Type="http://schemas.openxmlformats.org/officeDocument/2006/relationships/slideLayout" Target="../slideLayouts/slideLayout5.xml"/><Relationship Id="rId20" Type="http://schemas.openxmlformats.org/officeDocument/2006/relationships/slide" Target="slide2.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5" Type="http://schemas.openxmlformats.org/officeDocument/2006/relationships/tags" Target="../tags/tag73.xml"/><Relationship Id="rId10" Type="http://schemas.openxmlformats.org/officeDocument/2006/relationships/tags" Target="../tags/tag68.xml"/><Relationship Id="rId19" Type="http://schemas.openxmlformats.org/officeDocument/2006/relationships/slide" Target="slide7.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s>
</file>

<file path=ppt/slides/_rels/slide8.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tags" Target="../tags/tag76.xml"/><Relationship Id="rId7" Type="http://schemas.openxmlformats.org/officeDocument/2006/relationships/image" Target="../media/image101.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notesSlide" Target="../notesSlides/notesSlide8.xml"/><Relationship Id="rId5" Type="http://schemas.openxmlformats.org/officeDocument/2006/relationships/slideLayout" Target="../slideLayouts/slideLayout6.xml"/><Relationship Id="rId4" Type="http://schemas.openxmlformats.org/officeDocument/2006/relationships/tags" Target="../tags/tag77.xml"/><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10.png"/><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784434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16" imgH="216" progId="TCLayout.ActiveDocument.1">
                  <p:embed/>
                </p:oleObj>
              </mc:Choice>
              <mc:Fallback>
                <p:oleObj name="think-cell Folie" r:id="rId4" imgW="216" imgH="216"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Inhaltsplatzhalter 9"/>
          <p:cNvSpPr>
            <a:spLocks noGrp="1"/>
          </p:cNvSpPr>
          <p:nvPr>
            <p:ph idx="10"/>
          </p:nvPr>
        </p:nvSpPr>
        <p:spPr/>
        <p:txBody>
          <a:bodyPr/>
          <a:lstStyle/>
          <a:p>
            <a:r>
              <a:rPr lang="de-DE" dirty="0"/>
              <a:t>Natakala Dakshesh</a:t>
            </a:r>
          </a:p>
          <a:p>
            <a:r>
              <a:rPr lang="de-DE" dirty="0"/>
              <a:t>TUM PREP</a:t>
            </a:r>
          </a:p>
        </p:txBody>
      </p:sp>
      <p:sp>
        <p:nvSpPr>
          <p:cNvPr id="9" name="Titel 8"/>
          <p:cNvSpPr>
            <a:spLocks noGrp="1"/>
          </p:cNvSpPr>
          <p:nvPr>
            <p:ph type="title"/>
          </p:nvPr>
        </p:nvSpPr>
        <p:spPr>
          <a:xfrm>
            <a:off x="425455" y="994337"/>
            <a:ext cx="11345332" cy="820738"/>
          </a:xfrm>
        </p:spPr>
        <p:txBody>
          <a:bodyPr/>
          <a:lstStyle/>
          <a:p>
            <a:r>
              <a:rPr lang="de-DE" dirty="0"/>
              <a:t>From Path to Trajectory: Trajectory Planning for Galvanometer Scanners.</a:t>
            </a:r>
          </a:p>
        </p:txBody>
      </p:sp>
    </p:spTree>
    <p:extLst>
      <p:ext uri="{BB962C8B-B14F-4D97-AF65-F5344CB8AC3E}">
        <p14:creationId xmlns:p14="http://schemas.microsoft.com/office/powerpoint/2010/main" val="560187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D7616-E598-63D9-06E2-1413BB4276EF}"/>
              </a:ext>
            </a:extLst>
          </p:cNvPr>
          <p:cNvSpPr>
            <a:spLocks noGrp="1"/>
          </p:cNvSpPr>
          <p:nvPr>
            <p:ph type="title"/>
          </p:nvPr>
        </p:nvSpPr>
        <p:spPr/>
        <p:txBody>
          <a:bodyPr/>
          <a:lstStyle/>
          <a:p>
            <a:r>
              <a:rPr lang="en-GB" dirty="0"/>
              <a:t>Collocation: Results</a:t>
            </a:r>
          </a:p>
        </p:txBody>
      </p:sp>
      <p:sp>
        <p:nvSpPr>
          <p:cNvPr id="4" name="Slide Number Placeholder 3">
            <a:extLst>
              <a:ext uri="{FF2B5EF4-FFF2-40B4-BE49-F238E27FC236}">
                <a16:creationId xmlns:a16="http://schemas.microsoft.com/office/drawing/2014/main" id="{CF9FDE20-757A-5D86-3DA5-59098DB0F928}"/>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10</a:t>
            </a:fld>
            <a:endParaRPr lang="en-US" dirty="0"/>
          </a:p>
        </p:txBody>
      </p:sp>
      <p:pic>
        <p:nvPicPr>
          <p:cNvPr id="6" name="Picture 5">
            <a:extLst>
              <a:ext uri="{FF2B5EF4-FFF2-40B4-BE49-F238E27FC236}">
                <a16:creationId xmlns:a16="http://schemas.microsoft.com/office/drawing/2014/main" id="{73B44926-A86B-C024-D3F9-C8B6EEF5D7BB}"/>
              </a:ext>
            </a:extLst>
          </p:cNvPr>
          <p:cNvPicPr>
            <a:picLocks noChangeAspect="1"/>
          </p:cNvPicPr>
          <p:nvPr/>
        </p:nvPicPr>
        <p:blipFill>
          <a:blip r:embed="rId4"/>
          <a:stretch>
            <a:fillRect/>
          </a:stretch>
        </p:blipFill>
        <p:spPr>
          <a:xfrm>
            <a:off x="4328415" y="1293417"/>
            <a:ext cx="7200898" cy="4721901"/>
          </a:xfrm>
          <a:prstGeom prst="rect">
            <a:avLst/>
          </a:prstGeom>
        </p:spPr>
      </p:pic>
      <p:sp>
        <p:nvSpPr>
          <p:cNvPr id="7" name="ee4pContent1">
            <a:extLst>
              <a:ext uri="{FF2B5EF4-FFF2-40B4-BE49-F238E27FC236}">
                <a16:creationId xmlns:a16="http://schemas.microsoft.com/office/drawing/2014/main" id="{C3999BF5-33A3-BACA-7E42-61DE35A74078}"/>
              </a:ext>
            </a:extLst>
          </p:cNvPr>
          <p:cNvSpPr txBox="1">
            <a:spLocks/>
          </p:cNvSpPr>
          <p:nvPr>
            <p:custDataLst>
              <p:tags r:id="rId1"/>
            </p:custDataLst>
          </p:nvPr>
        </p:nvSpPr>
        <p:spPr>
          <a:xfrm>
            <a:off x="246812" y="1293417"/>
            <a:ext cx="4298294" cy="47936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2000" dirty="0"/>
              <a:t>Tested 1D path between x = 0 and x = 0.5</a:t>
            </a:r>
          </a:p>
          <a:p>
            <a:pPr lvl="1">
              <a:spcAft>
                <a:spcPts val="0"/>
              </a:spcAft>
            </a:pPr>
            <a:r>
              <a:rPr lang="en-GB" sz="2000" dirty="0"/>
              <a:t>Lack of initial conditions creates unusable results</a:t>
            </a:r>
          </a:p>
          <a:p>
            <a:pPr lvl="1">
              <a:spcAft>
                <a:spcPts val="0"/>
              </a:spcAft>
            </a:pPr>
            <a:r>
              <a:rPr lang="en-GB" sz="2000" dirty="0"/>
              <a:t>Due to waves, final time is not close enough to optimal final time (of 5).</a:t>
            </a:r>
          </a:p>
          <a:p>
            <a:pPr marL="0" lvl="1" indent="0">
              <a:spcAft>
                <a:spcPts val="0"/>
              </a:spcAft>
              <a:buNone/>
            </a:pPr>
            <a:endParaRPr lang="en-GB" sz="2000" dirty="0"/>
          </a:p>
        </p:txBody>
      </p:sp>
      <p:sp>
        <p:nvSpPr>
          <p:cNvPr id="8" name="Text Placeholder 2">
            <a:extLst>
              <a:ext uri="{FF2B5EF4-FFF2-40B4-BE49-F238E27FC236}">
                <a16:creationId xmlns:a16="http://schemas.microsoft.com/office/drawing/2014/main" id="{27DDCB24-6CC5-BC80-B7AC-A936E1E75B0C}"/>
              </a:ext>
            </a:extLst>
          </p:cNvPr>
          <p:cNvSpPr>
            <a:spLocks noGrp="1"/>
          </p:cNvSpPr>
          <p:nvPr>
            <p:ph type="body" sz="quarter" idx="13"/>
          </p:nvPr>
        </p:nvSpPr>
        <p:spPr>
          <a:xfrm>
            <a:off x="4723135" y="6015318"/>
            <a:ext cx="9023348" cy="301504"/>
          </a:xfrm>
        </p:spPr>
        <p:txBody>
          <a:bodyPr/>
          <a:lstStyle/>
          <a:p>
            <a:r>
              <a:rPr lang="en-GB" dirty="0"/>
              <a:t>Figure 1: Collocation results for optimal inputs. </a:t>
            </a:r>
          </a:p>
        </p:txBody>
      </p:sp>
    </p:spTree>
    <p:extLst>
      <p:ext uri="{BB962C8B-B14F-4D97-AF65-F5344CB8AC3E}">
        <p14:creationId xmlns:p14="http://schemas.microsoft.com/office/powerpoint/2010/main" val="11739195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hlinkClick r:id="" action="ppaction://noaction"/>
            <a:extLst>
              <a:ext uri="{FF2B5EF4-FFF2-40B4-BE49-F238E27FC236}">
                <a16:creationId xmlns:a16="http://schemas.microsoft.com/office/drawing/2014/main" id="{01EF0CDB-06D1-E1ED-28B2-7EBFFF4B3D05}"/>
              </a:ext>
            </a:extLst>
          </p:cNvPr>
          <p:cNvSpPr/>
          <p:nvPr>
            <p:custDataLst>
              <p:tags r:id="rId2"/>
            </p:custDataLst>
          </p:nvPr>
        </p:nvSpPr>
        <p:spPr>
          <a:xfrm>
            <a:off x="889065" y="412621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Next Steps</a:t>
            </a:r>
          </a:p>
        </p:txBody>
      </p:sp>
      <p:sp>
        <p:nvSpPr>
          <p:cNvPr id="17" name="Rectangle 16">
            <a:hlinkClick r:id="" action="ppaction://noaction"/>
            <a:extLst>
              <a:ext uri="{FF2B5EF4-FFF2-40B4-BE49-F238E27FC236}">
                <a16:creationId xmlns:a16="http://schemas.microsoft.com/office/drawing/2014/main" id="{B5C3AA51-470C-9934-A5EC-C9FC9FA1B4FE}"/>
              </a:ext>
            </a:extLst>
          </p:cNvPr>
          <p:cNvSpPr/>
          <p:nvPr>
            <p:custDataLst>
              <p:tags r:id="rId3"/>
            </p:custDataLst>
          </p:nvPr>
        </p:nvSpPr>
        <p:spPr>
          <a:xfrm>
            <a:off x="425455" y="412621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6</a:t>
            </a:r>
          </a:p>
        </p:txBody>
      </p:sp>
      <p:sp>
        <p:nvSpPr>
          <p:cNvPr id="16" name="Rectangle 15">
            <a:extLst>
              <a:ext uri="{FF2B5EF4-FFF2-40B4-BE49-F238E27FC236}">
                <a16:creationId xmlns:a16="http://schemas.microsoft.com/office/drawing/2014/main" id="{B5997718-11CF-6A32-1FA6-03FA12B6FE6B}"/>
              </a:ext>
            </a:extLst>
          </p:cNvPr>
          <p:cNvSpPr/>
          <p:nvPr>
            <p:custDataLst>
              <p:tags r:id="rId4"/>
            </p:custDataLst>
          </p:nvPr>
        </p:nvSpPr>
        <p:spPr>
          <a:xfrm>
            <a:off x="889065" y="3662603"/>
            <a:ext cx="10871139" cy="400110"/>
          </a:xfrm>
          <a:prstGeom prst="rect">
            <a:avLst/>
          </a:prstGeom>
          <a:solidFill>
            <a:srgbClr val="D9D9D9"/>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en-GB" sz="1600"/>
          </a:p>
        </p:txBody>
      </p:sp>
      <p:sp>
        <p:nvSpPr>
          <p:cNvPr id="15" name="Rectangle 14">
            <a:hlinkClick r:id="rId18" action="ppaction://hlinksldjump"/>
            <a:extLst>
              <a:ext uri="{FF2B5EF4-FFF2-40B4-BE49-F238E27FC236}">
                <a16:creationId xmlns:a16="http://schemas.microsoft.com/office/drawing/2014/main" id="{E68D1C46-E971-6E0E-0F17-C728FEF6BBA5}"/>
              </a:ext>
            </a:extLst>
          </p:cNvPr>
          <p:cNvSpPr/>
          <p:nvPr>
            <p:custDataLst>
              <p:tags r:id="rId5"/>
            </p:custDataLst>
          </p:nvPr>
        </p:nvSpPr>
        <p:spPr>
          <a:xfrm>
            <a:off x="889065" y="366260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Reinforcement Learning</a:t>
            </a:r>
          </a:p>
        </p:txBody>
      </p:sp>
      <p:sp>
        <p:nvSpPr>
          <p:cNvPr id="14" name="Rectangle 13">
            <a:hlinkClick r:id="rId18" action="ppaction://hlinksldjump"/>
            <a:extLst>
              <a:ext uri="{FF2B5EF4-FFF2-40B4-BE49-F238E27FC236}">
                <a16:creationId xmlns:a16="http://schemas.microsoft.com/office/drawing/2014/main" id="{0FED62FD-7A9C-1E3A-93C1-F770D3BD0890}"/>
              </a:ext>
            </a:extLst>
          </p:cNvPr>
          <p:cNvSpPr/>
          <p:nvPr>
            <p:custDataLst>
              <p:tags r:id="rId6"/>
            </p:custDataLst>
          </p:nvPr>
        </p:nvSpPr>
        <p:spPr>
          <a:xfrm>
            <a:off x="425455" y="366260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5</a:t>
            </a:r>
          </a:p>
        </p:txBody>
      </p:sp>
      <p:sp>
        <p:nvSpPr>
          <p:cNvPr id="13" name="Rectangle 12">
            <a:hlinkClick r:id="" action="ppaction://noaction"/>
            <a:extLst>
              <a:ext uri="{FF2B5EF4-FFF2-40B4-BE49-F238E27FC236}">
                <a16:creationId xmlns:a16="http://schemas.microsoft.com/office/drawing/2014/main" id="{5AE62A41-FB9B-2E68-7037-69CD020D9160}"/>
              </a:ext>
            </a:extLst>
          </p:cNvPr>
          <p:cNvSpPr/>
          <p:nvPr>
            <p:custDataLst>
              <p:tags r:id="rId7"/>
            </p:custDataLst>
          </p:nvPr>
        </p:nvSpPr>
        <p:spPr>
          <a:xfrm>
            <a:off x="889065" y="319899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Collocation Method</a:t>
            </a:r>
          </a:p>
        </p:txBody>
      </p:sp>
      <p:sp>
        <p:nvSpPr>
          <p:cNvPr id="12" name="Rectangle 11">
            <a:hlinkClick r:id="" action="ppaction://noaction"/>
            <a:extLst>
              <a:ext uri="{FF2B5EF4-FFF2-40B4-BE49-F238E27FC236}">
                <a16:creationId xmlns:a16="http://schemas.microsoft.com/office/drawing/2014/main" id="{AF7FB487-932D-DEDB-6E3B-00F3E3A1D358}"/>
              </a:ext>
            </a:extLst>
          </p:cNvPr>
          <p:cNvSpPr/>
          <p:nvPr>
            <p:custDataLst>
              <p:tags r:id="rId8"/>
            </p:custDataLst>
          </p:nvPr>
        </p:nvSpPr>
        <p:spPr>
          <a:xfrm>
            <a:off x="425455" y="319899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4</a:t>
            </a:r>
          </a:p>
        </p:txBody>
      </p:sp>
      <p:sp>
        <p:nvSpPr>
          <p:cNvPr id="11" name="Rectangle 10">
            <a:hlinkClick r:id="rId19" action="ppaction://hlinksldjump"/>
            <a:extLst>
              <a:ext uri="{FF2B5EF4-FFF2-40B4-BE49-F238E27FC236}">
                <a16:creationId xmlns:a16="http://schemas.microsoft.com/office/drawing/2014/main" id="{FAE63DF4-E55F-C40F-2942-537CFFBED3A2}"/>
              </a:ext>
            </a:extLst>
          </p:cNvPr>
          <p:cNvSpPr/>
          <p:nvPr>
            <p:custDataLst>
              <p:tags r:id="rId9"/>
            </p:custDataLst>
          </p:nvPr>
        </p:nvSpPr>
        <p:spPr>
          <a:xfrm>
            <a:off x="889065" y="273538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Hamilton-Jacobi-Bellman Method</a:t>
            </a:r>
          </a:p>
        </p:txBody>
      </p:sp>
      <p:sp>
        <p:nvSpPr>
          <p:cNvPr id="10" name="Rectangle 9">
            <a:hlinkClick r:id="rId19" action="ppaction://hlinksldjump"/>
            <a:extLst>
              <a:ext uri="{FF2B5EF4-FFF2-40B4-BE49-F238E27FC236}">
                <a16:creationId xmlns:a16="http://schemas.microsoft.com/office/drawing/2014/main" id="{D105D3C4-4766-96E5-FC2B-552490CB2233}"/>
              </a:ext>
            </a:extLst>
          </p:cNvPr>
          <p:cNvSpPr/>
          <p:nvPr>
            <p:custDataLst>
              <p:tags r:id="rId10"/>
            </p:custDataLst>
          </p:nvPr>
        </p:nvSpPr>
        <p:spPr>
          <a:xfrm>
            <a:off x="425455" y="273538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3</a:t>
            </a:r>
          </a:p>
        </p:txBody>
      </p:sp>
      <p:sp>
        <p:nvSpPr>
          <p:cNvPr id="9" name="Rectangle 8">
            <a:hlinkClick r:id="" action="ppaction://noaction"/>
            <a:extLst>
              <a:ext uri="{FF2B5EF4-FFF2-40B4-BE49-F238E27FC236}">
                <a16:creationId xmlns:a16="http://schemas.microsoft.com/office/drawing/2014/main" id="{B9D9D5B3-3618-08CD-6E02-C919151DDFB7}"/>
              </a:ext>
            </a:extLst>
          </p:cNvPr>
          <p:cNvSpPr/>
          <p:nvPr>
            <p:custDataLst>
              <p:tags r:id="rId11"/>
            </p:custDataLst>
          </p:nvPr>
        </p:nvSpPr>
        <p:spPr>
          <a:xfrm>
            <a:off x="889065" y="227177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Requirements and Existing Model</a:t>
            </a:r>
          </a:p>
        </p:txBody>
      </p:sp>
      <p:sp>
        <p:nvSpPr>
          <p:cNvPr id="8" name="Rectangle 7">
            <a:hlinkClick r:id="" action="ppaction://noaction"/>
            <a:extLst>
              <a:ext uri="{FF2B5EF4-FFF2-40B4-BE49-F238E27FC236}">
                <a16:creationId xmlns:a16="http://schemas.microsoft.com/office/drawing/2014/main" id="{B8126889-FBD5-AB44-F1B8-DB51EBF68E1B}"/>
              </a:ext>
            </a:extLst>
          </p:cNvPr>
          <p:cNvSpPr/>
          <p:nvPr>
            <p:custDataLst>
              <p:tags r:id="rId12"/>
            </p:custDataLst>
          </p:nvPr>
        </p:nvSpPr>
        <p:spPr>
          <a:xfrm>
            <a:off x="425455" y="227177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2</a:t>
            </a:r>
          </a:p>
        </p:txBody>
      </p:sp>
      <p:sp>
        <p:nvSpPr>
          <p:cNvPr id="7" name="Rectangle 6">
            <a:hlinkClick r:id="rId20" action="ppaction://hlinksldjump"/>
            <a:extLst>
              <a:ext uri="{FF2B5EF4-FFF2-40B4-BE49-F238E27FC236}">
                <a16:creationId xmlns:a16="http://schemas.microsoft.com/office/drawing/2014/main" id="{242ADCCF-E688-F3A8-F1C5-5F67134DAD52}"/>
              </a:ext>
            </a:extLst>
          </p:cNvPr>
          <p:cNvSpPr/>
          <p:nvPr>
            <p:custDataLst>
              <p:tags r:id="rId13"/>
            </p:custDataLst>
          </p:nvPr>
        </p:nvSpPr>
        <p:spPr>
          <a:xfrm>
            <a:off x="889065" y="180816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Background</a:t>
            </a:r>
          </a:p>
        </p:txBody>
      </p:sp>
      <p:sp>
        <p:nvSpPr>
          <p:cNvPr id="6" name="Rectangle 5">
            <a:hlinkClick r:id="rId20" action="ppaction://hlinksldjump"/>
            <a:extLst>
              <a:ext uri="{FF2B5EF4-FFF2-40B4-BE49-F238E27FC236}">
                <a16:creationId xmlns:a16="http://schemas.microsoft.com/office/drawing/2014/main" id="{F84AF775-46E3-B7F9-C77D-8F5E095FDBB5}"/>
              </a:ext>
            </a:extLst>
          </p:cNvPr>
          <p:cNvSpPr/>
          <p:nvPr>
            <p:custDataLst>
              <p:tags r:id="rId14"/>
            </p:custDataLst>
          </p:nvPr>
        </p:nvSpPr>
        <p:spPr>
          <a:xfrm>
            <a:off x="425455" y="180816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1</a:t>
            </a:r>
          </a:p>
        </p:txBody>
      </p:sp>
      <p:sp>
        <p:nvSpPr>
          <p:cNvPr id="3" name="Title 2">
            <a:extLst>
              <a:ext uri="{FF2B5EF4-FFF2-40B4-BE49-F238E27FC236}">
                <a16:creationId xmlns:a16="http://schemas.microsoft.com/office/drawing/2014/main" id="{D665D954-37DF-CB9D-BB7E-9B439DB35DAF}"/>
              </a:ext>
            </a:extLst>
          </p:cNvPr>
          <p:cNvSpPr>
            <a:spLocks noGrp="1"/>
          </p:cNvSpPr>
          <p:nvPr>
            <p:ph type="title"/>
            <p:custDataLst>
              <p:tags r:id="rId15"/>
            </p:custDataLst>
          </p:nvPr>
        </p:nvSpPr>
        <p:spPr/>
        <p:txBody>
          <a:bodyPr/>
          <a:lstStyle/>
          <a:p>
            <a:r>
              <a:rPr lang="en-GB"/>
              <a:t>Agenda</a:t>
            </a:r>
          </a:p>
        </p:txBody>
      </p:sp>
    </p:spTree>
    <p:custDataLst>
      <p:tags r:id="rId1"/>
    </p:custDataLst>
    <p:extLst>
      <p:ext uri="{BB962C8B-B14F-4D97-AF65-F5344CB8AC3E}">
        <p14:creationId xmlns:p14="http://schemas.microsoft.com/office/powerpoint/2010/main" val="35428518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28AF0-81F4-30E4-AFCF-C5E849E8B4FC}"/>
              </a:ext>
            </a:extLst>
          </p:cNvPr>
          <p:cNvSpPr>
            <a:spLocks noGrp="1"/>
          </p:cNvSpPr>
          <p:nvPr>
            <p:ph type="title"/>
          </p:nvPr>
        </p:nvSpPr>
        <p:spPr/>
        <p:txBody>
          <a:bodyPr/>
          <a:lstStyle/>
          <a:p>
            <a:r>
              <a:rPr lang="en-GB" dirty="0"/>
              <a:t>Reinforcement Learning (RL)</a:t>
            </a:r>
          </a:p>
        </p:txBody>
      </p:sp>
      <p:sp>
        <p:nvSpPr>
          <p:cNvPr id="4" name="Slide Number Placeholder 3">
            <a:extLst>
              <a:ext uri="{FF2B5EF4-FFF2-40B4-BE49-F238E27FC236}">
                <a16:creationId xmlns:a16="http://schemas.microsoft.com/office/drawing/2014/main" id="{64EFDFD6-A321-7F04-CE95-BD77864DB772}"/>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12</a:t>
            </a:fld>
            <a:endParaRPr lang="en-US" dirty="0"/>
          </a:p>
        </p:txBody>
      </p:sp>
      <p:sp>
        <p:nvSpPr>
          <p:cNvPr id="5" name="ee4pContent1">
            <a:extLst>
              <a:ext uri="{FF2B5EF4-FFF2-40B4-BE49-F238E27FC236}">
                <a16:creationId xmlns:a16="http://schemas.microsoft.com/office/drawing/2014/main" id="{4F1F2508-9367-F208-DAD6-E9E46113E71A}"/>
              </a:ext>
            </a:extLst>
          </p:cNvPr>
          <p:cNvSpPr txBox="1">
            <a:spLocks/>
          </p:cNvSpPr>
          <p:nvPr>
            <p:custDataLst>
              <p:tags r:id="rId1"/>
            </p:custDataLst>
          </p:nvPr>
        </p:nvSpPr>
        <p:spPr>
          <a:xfrm>
            <a:off x="425455" y="2286546"/>
            <a:ext cx="3653313" cy="41301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State and action space are both 2D plane between -1 and +1</a:t>
            </a:r>
          </a:p>
          <a:p>
            <a:pPr lvl="1">
              <a:spcAft>
                <a:spcPts val="0"/>
              </a:spcAft>
            </a:pPr>
            <a:r>
              <a:rPr lang="en-GB" sz="1800" dirty="0"/>
              <a:t>Continuous space – saves on memory instead of finely discretizing</a:t>
            </a:r>
          </a:p>
          <a:p>
            <a:pPr lvl="1">
              <a:spcAft>
                <a:spcPts val="0"/>
              </a:spcAft>
            </a:pPr>
            <a:r>
              <a:rPr lang="en-GB" sz="1800" dirty="0"/>
              <a:t>Implement dynamics model to convert inputs to outputs.</a:t>
            </a:r>
          </a:p>
          <a:p>
            <a:pPr lvl="1">
              <a:spcAft>
                <a:spcPts val="0"/>
              </a:spcAft>
            </a:pPr>
            <a:r>
              <a:rPr lang="en-GB" sz="1800" dirty="0"/>
              <a:t>Implement velocity limiter</a:t>
            </a:r>
          </a:p>
          <a:p>
            <a:pPr lvl="1">
              <a:spcAft>
                <a:spcPts val="0"/>
              </a:spcAft>
            </a:pPr>
            <a:endParaRPr lang="en-GB" sz="1800" dirty="0"/>
          </a:p>
        </p:txBody>
      </p:sp>
      <p:sp>
        <p:nvSpPr>
          <p:cNvPr id="6" name="ee4pContent1">
            <a:extLst>
              <a:ext uri="{FF2B5EF4-FFF2-40B4-BE49-F238E27FC236}">
                <a16:creationId xmlns:a16="http://schemas.microsoft.com/office/drawing/2014/main" id="{A6180A62-2455-59F4-D2E6-9183F2F6F5D9}"/>
              </a:ext>
            </a:extLst>
          </p:cNvPr>
          <p:cNvSpPr txBox="1">
            <a:spLocks/>
          </p:cNvSpPr>
          <p:nvPr>
            <p:custDataLst>
              <p:tags r:id="rId2"/>
            </p:custDataLst>
          </p:nvPr>
        </p:nvSpPr>
        <p:spPr>
          <a:xfrm>
            <a:off x="4266172" y="2286546"/>
            <a:ext cx="3653313" cy="41301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Decided to use A2C – advanced actor critic</a:t>
            </a:r>
          </a:p>
          <a:p>
            <a:pPr lvl="1">
              <a:spcAft>
                <a:spcPts val="0"/>
              </a:spcAft>
            </a:pPr>
            <a:r>
              <a:rPr lang="en-GB" sz="1800" dirty="0"/>
              <a:t>Limited parameters to tune</a:t>
            </a:r>
          </a:p>
          <a:p>
            <a:pPr lvl="1">
              <a:spcAft>
                <a:spcPts val="0"/>
              </a:spcAft>
            </a:pPr>
            <a:r>
              <a:rPr lang="en-GB" sz="1800" dirty="0"/>
              <a:t>Use RNN (recurrent neural networks) which have memory – previous timestep knowledge required to learn integral dynamics model.</a:t>
            </a:r>
          </a:p>
          <a:p>
            <a:pPr lvl="1">
              <a:spcAft>
                <a:spcPts val="0"/>
              </a:spcAft>
            </a:pPr>
            <a:r>
              <a:rPr lang="en-GB" sz="1800" dirty="0"/>
              <a:t>‘Batch-size’ – number of previous timesteps to feed into RNN</a:t>
            </a:r>
          </a:p>
        </p:txBody>
      </p:sp>
      <p:sp>
        <p:nvSpPr>
          <p:cNvPr id="7" name="ee4pContent1">
            <a:extLst>
              <a:ext uri="{FF2B5EF4-FFF2-40B4-BE49-F238E27FC236}">
                <a16:creationId xmlns:a16="http://schemas.microsoft.com/office/drawing/2014/main" id="{FB9DA90A-8240-0B70-8BE7-56EFD6388626}"/>
              </a:ext>
            </a:extLst>
          </p:cNvPr>
          <p:cNvSpPr txBox="1">
            <a:spLocks/>
          </p:cNvSpPr>
          <p:nvPr>
            <p:custDataLst>
              <p:tags r:id="rId3"/>
            </p:custDataLst>
          </p:nvPr>
        </p:nvSpPr>
        <p:spPr>
          <a:xfrm>
            <a:off x="8106890" y="2286546"/>
            <a:ext cx="3653313" cy="41301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After each cycle, agent will analyse rewards and learn how to improve</a:t>
            </a:r>
          </a:p>
          <a:p>
            <a:pPr lvl="1">
              <a:spcAft>
                <a:spcPts val="0"/>
              </a:spcAft>
            </a:pPr>
            <a:r>
              <a:rPr lang="en-GB" sz="1800" dirty="0"/>
              <a:t>Key is consistent rewards for each step</a:t>
            </a:r>
          </a:p>
          <a:p>
            <a:pPr lvl="1">
              <a:spcAft>
                <a:spcPts val="0"/>
              </a:spcAft>
            </a:pPr>
            <a:r>
              <a:rPr lang="en-GB" sz="1800" dirty="0"/>
              <a:t>Rewards must be same scale per step </a:t>
            </a:r>
          </a:p>
          <a:p>
            <a:pPr lvl="1">
              <a:spcAft>
                <a:spcPts val="0"/>
              </a:spcAft>
            </a:pPr>
            <a:r>
              <a:rPr lang="en-GB" sz="1800" dirty="0"/>
              <a:t>Two problems: following the path and finding the fastest time. </a:t>
            </a:r>
          </a:p>
        </p:txBody>
      </p:sp>
      <p:sp>
        <p:nvSpPr>
          <p:cNvPr id="8" name="ee4pHeader1">
            <a:extLst>
              <a:ext uri="{FF2B5EF4-FFF2-40B4-BE49-F238E27FC236}">
                <a16:creationId xmlns:a16="http://schemas.microsoft.com/office/drawing/2014/main" id="{88ACBF12-B3E2-2774-D80A-C2BC7DFF9D51}"/>
              </a:ext>
            </a:extLst>
          </p:cNvPr>
          <p:cNvSpPr/>
          <p:nvPr>
            <p:custDataLst>
              <p:tags r:id="rId4"/>
            </p:custDataLst>
          </p:nvPr>
        </p:nvSpPr>
        <p:spPr bwMode="auto">
          <a:xfrm>
            <a:off x="425455" y="1808164"/>
            <a:ext cx="3653313" cy="47838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Environment</a:t>
            </a:r>
          </a:p>
        </p:txBody>
      </p:sp>
      <p:sp>
        <p:nvSpPr>
          <p:cNvPr id="9" name="ee4pHeader1">
            <a:extLst>
              <a:ext uri="{FF2B5EF4-FFF2-40B4-BE49-F238E27FC236}">
                <a16:creationId xmlns:a16="http://schemas.microsoft.com/office/drawing/2014/main" id="{29573292-B2EB-8EEE-9971-427875BF245A}"/>
              </a:ext>
            </a:extLst>
          </p:cNvPr>
          <p:cNvSpPr/>
          <p:nvPr>
            <p:custDataLst>
              <p:tags r:id="rId5"/>
            </p:custDataLst>
          </p:nvPr>
        </p:nvSpPr>
        <p:spPr bwMode="auto">
          <a:xfrm>
            <a:off x="4266172" y="1808164"/>
            <a:ext cx="3653313" cy="47838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Algorithm</a:t>
            </a:r>
          </a:p>
        </p:txBody>
      </p:sp>
      <p:sp>
        <p:nvSpPr>
          <p:cNvPr id="10" name="ee4pHeader1">
            <a:extLst>
              <a:ext uri="{FF2B5EF4-FFF2-40B4-BE49-F238E27FC236}">
                <a16:creationId xmlns:a16="http://schemas.microsoft.com/office/drawing/2014/main" id="{17BAA4B9-AADB-CAA9-127C-2FE8264D92E6}"/>
              </a:ext>
            </a:extLst>
          </p:cNvPr>
          <p:cNvSpPr/>
          <p:nvPr>
            <p:custDataLst>
              <p:tags r:id="rId6"/>
            </p:custDataLst>
          </p:nvPr>
        </p:nvSpPr>
        <p:spPr bwMode="auto">
          <a:xfrm>
            <a:off x="8106890" y="1808164"/>
            <a:ext cx="3653313" cy="47838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Reward</a:t>
            </a:r>
          </a:p>
        </p:txBody>
      </p:sp>
      <p:sp>
        <p:nvSpPr>
          <p:cNvPr id="3" name="TextBox 2">
            <a:extLst>
              <a:ext uri="{FF2B5EF4-FFF2-40B4-BE49-F238E27FC236}">
                <a16:creationId xmlns:a16="http://schemas.microsoft.com/office/drawing/2014/main" id="{F3789DFC-E464-C2E7-C0A0-FAB20C369BE7}"/>
              </a:ext>
            </a:extLst>
          </p:cNvPr>
          <p:cNvSpPr txBox="1"/>
          <p:nvPr/>
        </p:nvSpPr>
        <p:spPr>
          <a:xfrm>
            <a:off x="591671" y="918113"/>
            <a:ext cx="11358282" cy="605230"/>
          </a:xfrm>
          <a:prstGeom prst="rect">
            <a:avLst/>
          </a:prstGeom>
          <a:noFill/>
        </p:spPr>
        <p:txBody>
          <a:bodyPr wrap="square" lIns="0" tIns="0" rIns="0" bIns="0" rtlCol="0">
            <a:spAutoFit/>
          </a:bodyPr>
          <a:lstStyle/>
          <a:p>
            <a:pPr>
              <a:lnSpc>
                <a:spcPct val="114000"/>
              </a:lnSpc>
            </a:pPr>
            <a:r>
              <a:rPr lang="en-GB" dirty="0">
                <a:latin typeface="+mn-lt"/>
              </a:rPr>
              <a:t>Highly flexible: create an environment and define a reward for positive actions. The algorithm explores the environment and learns the best reward. </a:t>
            </a:r>
          </a:p>
        </p:txBody>
      </p:sp>
    </p:spTree>
    <p:extLst>
      <p:ext uri="{BB962C8B-B14F-4D97-AF65-F5344CB8AC3E}">
        <p14:creationId xmlns:p14="http://schemas.microsoft.com/office/powerpoint/2010/main" val="1899304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C29FA-844D-3066-9728-A20E32D9F145}"/>
              </a:ext>
            </a:extLst>
          </p:cNvPr>
          <p:cNvSpPr>
            <a:spLocks noGrp="1"/>
          </p:cNvSpPr>
          <p:nvPr>
            <p:ph type="title"/>
          </p:nvPr>
        </p:nvSpPr>
        <p:spPr/>
        <p:txBody>
          <a:bodyPr/>
          <a:lstStyle/>
          <a:p>
            <a:r>
              <a:rPr lang="en-GB" dirty="0"/>
              <a:t>Reward Function – Distance based</a:t>
            </a:r>
          </a:p>
        </p:txBody>
      </p:sp>
      <p:sp>
        <p:nvSpPr>
          <p:cNvPr id="4" name="Slide Number Placeholder 3">
            <a:extLst>
              <a:ext uri="{FF2B5EF4-FFF2-40B4-BE49-F238E27FC236}">
                <a16:creationId xmlns:a16="http://schemas.microsoft.com/office/drawing/2014/main" id="{9DB54FE0-336F-5A90-C9DA-AF73B6FD3B70}"/>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13</a:t>
            </a:fld>
            <a:endParaRPr lang="en-US" dirty="0"/>
          </a:p>
        </p:txBody>
      </p:sp>
      <p:sp>
        <p:nvSpPr>
          <p:cNvPr id="5" name="ee4pContent1">
            <a:extLst>
              <a:ext uri="{FF2B5EF4-FFF2-40B4-BE49-F238E27FC236}">
                <a16:creationId xmlns:a16="http://schemas.microsoft.com/office/drawing/2014/main" id="{97A97E32-07A0-BB84-A2DA-899378CD36A8}"/>
              </a:ext>
            </a:extLst>
          </p:cNvPr>
          <p:cNvSpPr txBox="1">
            <a:spLocks/>
          </p:cNvSpPr>
          <p:nvPr>
            <p:custDataLst>
              <p:tags r:id="rId1"/>
            </p:custDataLst>
          </p:nvPr>
        </p:nvSpPr>
        <p:spPr>
          <a:xfrm>
            <a:off x="345425" y="1754376"/>
            <a:ext cx="5438156" cy="461213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Initially tested reward function based on distance from target – failed, probably due to different scales</a:t>
            </a:r>
          </a:p>
          <a:p>
            <a:pPr lvl="1">
              <a:spcAft>
                <a:spcPts val="0"/>
              </a:spcAft>
            </a:pPr>
            <a:r>
              <a:rPr lang="en-GB" sz="1800" dirty="0"/>
              <a:t>Found success with </a:t>
            </a:r>
            <a:r>
              <a:rPr lang="en-GB" sz="1800" i="1" dirty="0"/>
              <a:t>change</a:t>
            </a:r>
            <a:r>
              <a:rPr lang="en-GB" sz="1800" dirty="0"/>
              <a:t> in distance from target</a:t>
            </a:r>
          </a:p>
          <a:p>
            <a:pPr lvl="1">
              <a:spcAft>
                <a:spcPts val="0"/>
              </a:spcAft>
            </a:pPr>
            <a:r>
              <a:rPr lang="en-GB" sz="1800" dirty="0"/>
              <a:t>Gave end state reward</a:t>
            </a:r>
          </a:p>
          <a:p>
            <a:pPr lvl="1">
              <a:spcAft>
                <a:spcPts val="0"/>
              </a:spcAft>
            </a:pPr>
            <a:r>
              <a:rPr lang="en-GB" sz="1800" dirty="0"/>
              <a:t>Started at (0, 0), goal was (0.5, 0) – max velocity = 0.1</a:t>
            </a:r>
          </a:p>
          <a:p>
            <a:pPr lvl="1">
              <a:spcAft>
                <a:spcPts val="0"/>
              </a:spcAft>
            </a:pPr>
            <a:r>
              <a:rPr lang="en-GB" sz="1800" dirty="0"/>
              <a:t>Can find target, but not optimal time (7 instead of 5.1)</a:t>
            </a:r>
          </a:p>
          <a:p>
            <a:pPr lvl="1">
              <a:spcAft>
                <a:spcPts val="0"/>
              </a:spcAft>
            </a:pPr>
            <a:endParaRPr lang="en-GB" sz="1800" dirty="0"/>
          </a:p>
        </p:txBody>
      </p:sp>
      <p:pic>
        <p:nvPicPr>
          <p:cNvPr id="9" name="Picture 8">
            <a:extLst>
              <a:ext uri="{FF2B5EF4-FFF2-40B4-BE49-F238E27FC236}">
                <a16:creationId xmlns:a16="http://schemas.microsoft.com/office/drawing/2014/main" id="{88AC761A-7309-AA1B-5650-BFEA0E44A3DC}"/>
              </a:ext>
            </a:extLst>
          </p:cNvPr>
          <p:cNvPicPr>
            <a:picLocks noChangeAspect="1"/>
          </p:cNvPicPr>
          <p:nvPr/>
        </p:nvPicPr>
        <p:blipFill>
          <a:blip r:embed="rId4"/>
          <a:stretch>
            <a:fillRect/>
          </a:stretch>
        </p:blipFill>
        <p:spPr>
          <a:xfrm>
            <a:off x="5980436" y="1539241"/>
            <a:ext cx="6085880" cy="4438649"/>
          </a:xfrm>
          <a:prstGeom prst="rect">
            <a:avLst/>
          </a:prstGeom>
        </p:spPr>
      </p:pic>
      <p:sp>
        <p:nvSpPr>
          <p:cNvPr id="7" name="Text Placeholder 6">
            <a:extLst>
              <a:ext uri="{FF2B5EF4-FFF2-40B4-BE49-F238E27FC236}">
                <a16:creationId xmlns:a16="http://schemas.microsoft.com/office/drawing/2014/main" id="{94B3C486-684A-C7A2-0166-BA01CFC7353F}"/>
              </a:ext>
            </a:extLst>
          </p:cNvPr>
          <p:cNvSpPr>
            <a:spLocks noGrp="1"/>
          </p:cNvSpPr>
          <p:nvPr>
            <p:ph type="body" sz="quarter" idx="13"/>
          </p:nvPr>
        </p:nvSpPr>
        <p:spPr/>
        <p:txBody>
          <a:bodyPr/>
          <a:lstStyle/>
          <a:p>
            <a:endParaRPr lang="en-GB"/>
          </a:p>
        </p:txBody>
      </p:sp>
      <p:sp>
        <p:nvSpPr>
          <p:cNvPr id="8" name="Text Placeholder 2">
            <a:extLst>
              <a:ext uri="{FF2B5EF4-FFF2-40B4-BE49-F238E27FC236}">
                <a16:creationId xmlns:a16="http://schemas.microsoft.com/office/drawing/2014/main" id="{276404B6-2CB2-542A-7644-33A42843B036}"/>
              </a:ext>
            </a:extLst>
          </p:cNvPr>
          <p:cNvSpPr txBox="1">
            <a:spLocks/>
          </p:cNvSpPr>
          <p:nvPr/>
        </p:nvSpPr>
        <p:spPr>
          <a:xfrm>
            <a:off x="6209035" y="6128642"/>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Figure 2: Distance based reinforcement learning, inputs. </a:t>
            </a:r>
          </a:p>
        </p:txBody>
      </p:sp>
    </p:spTree>
    <p:extLst>
      <p:ext uri="{BB962C8B-B14F-4D97-AF65-F5344CB8AC3E}">
        <p14:creationId xmlns:p14="http://schemas.microsoft.com/office/powerpoint/2010/main" val="246836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C29FA-844D-3066-9728-A20E32D9F145}"/>
              </a:ext>
            </a:extLst>
          </p:cNvPr>
          <p:cNvSpPr>
            <a:spLocks noGrp="1"/>
          </p:cNvSpPr>
          <p:nvPr>
            <p:ph type="title"/>
          </p:nvPr>
        </p:nvSpPr>
        <p:spPr/>
        <p:txBody>
          <a:bodyPr/>
          <a:lstStyle/>
          <a:p>
            <a:r>
              <a:rPr lang="en-GB" dirty="0"/>
              <a:t>Reward Function – Path Following</a:t>
            </a:r>
          </a:p>
        </p:txBody>
      </p:sp>
      <p:sp>
        <p:nvSpPr>
          <p:cNvPr id="3" name="Text Placeholder 2">
            <a:extLst>
              <a:ext uri="{FF2B5EF4-FFF2-40B4-BE49-F238E27FC236}">
                <a16:creationId xmlns:a16="http://schemas.microsoft.com/office/drawing/2014/main" id="{18877FB0-D587-DEDC-6DB9-566E61EBDA26}"/>
              </a:ext>
            </a:extLst>
          </p:cNvPr>
          <p:cNvSpPr>
            <a:spLocks noGrp="1"/>
          </p:cNvSpPr>
          <p:nvPr>
            <p:ph type="body" sz="quarter" idx="13"/>
          </p:nvPr>
        </p:nvSpPr>
        <p:spPr/>
        <p:txBody>
          <a:bodyPr/>
          <a:lstStyle/>
          <a:p>
            <a:endParaRPr lang="en-GB" dirty="0"/>
          </a:p>
        </p:txBody>
      </p:sp>
      <p:sp>
        <p:nvSpPr>
          <p:cNvPr id="4" name="Slide Number Placeholder 3">
            <a:extLst>
              <a:ext uri="{FF2B5EF4-FFF2-40B4-BE49-F238E27FC236}">
                <a16:creationId xmlns:a16="http://schemas.microsoft.com/office/drawing/2014/main" id="{9DB54FE0-336F-5A90-C9DA-AF73B6FD3B70}"/>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14</a:t>
            </a:fld>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97A97E32-07A0-BB84-A2DA-899378CD36A8}"/>
                  </a:ext>
                </a:extLst>
              </p:cNvPr>
              <p:cNvSpPr txBox="1">
                <a:spLocks/>
              </p:cNvSpPr>
              <p:nvPr>
                <p:custDataLst>
                  <p:tags r:id="rId1"/>
                </p:custDataLst>
              </p:nvPr>
            </p:nvSpPr>
            <p:spPr>
              <a:xfrm>
                <a:off x="345425" y="1754376"/>
                <a:ext cx="5438156" cy="436067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2000" dirty="0"/>
                  <a:t>Need to adapt this to follow general path.</a:t>
                </a:r>
              </a:p>
              <a:p>
                <a:pPr lvl="1">
                  <a:spcAft>
                    <a:spcPts val="0"/>
                  </a:spcAft>
                </a:pPr>
                <a:r>
                  <a:rPr lang="en-GB" sz="2000" dirty="0"/>
                  <a:t>Create standardised reward function</a:t>
                </a:r>
              </a:p>
              <a:p>
                <a:pPr lvl="1">
                  <a:spcAft>
                    <a:spcPts val="0"/>
                  </a:spcAft>
                </a:pPr>
                <a:r>
                  <a:rPr lang="en-GB" sz="2000" dirty="0"/>
                  <a:t>Flexible – works with any path shape y = f(x)</a:t>
                </a:r>
              </a:p>
              <a:p>
                <a:pPr lvl="1">
                  <a:spcAft>
                    <a:spcPts val="0"/>
                  </a:spcAft>
                </a:pPr>
                <a14:m>
                  <m:oMath xmlns:m="http://schemas.openxmlformats.org/officeDocument/2006/math">
                    <m:r>
                      <a:rPr lang="en-GB" sz="2000" b="0" i="1" smtClean="0">
                        <a:latin typeface="Cambria Math" panose="02040503050406030204" pitchFamily="18" charset="0"/>
                      </a:rPr>
                      <m:t>𝑉𝑎𝑙𝑢𝑒</m:t>
                    </m:r>
                    <m:r>
                      <a:rPr lang="en-GB" sz="2000" b="0" i="1" smtClean="0">
                        <a:latin typeface="Cambria Math" panose="02040503050406030204" pitchFamily="18" charset="0"/>
                      </a:rPr>
                      <m:t>= </m:t>
                    </m:r>
                    <m:f>
                      <m:fPr>
                        <m:type m:val="skw"/>
                        <m:ctrlPr>
                          <a:rPr lang="en-GB" sz="2000" b="0" i="1" smtClean="0">
                            <a:latin typeface="Cambria Math" panose="02040503050406030204" pitchFamily="18" charset="0"/>
                          </a:rPr>
                        </m:ctrlPr>
                      </m:fPr>
                      <m:num>
                        <m:r>
                          <a:rPr lang="en-GB" sz="2000" b="0" i="1" smtClean="0">
                            <a:latin typeface="Cambria Math" panose="02040503050406030204" pitchFamily="18" charset="0"/>
                          </a:rPr>
                          <m:t>1</m:t>
                        </m:r>
                      </m:num>
                      <m:den>
                        <m:r>
                          <a:rPr lang="en-GB" sz="2000" b="0" i="1" smtClean="0">
                            <a:latin typeface="Cambria Math" panose="02040503050406030204" pitchFamily="18" charset="0"/>
                          </a:rPr>
                          <m:t>1+ </m:t>
                        </m:r>
                        <m:r>
                          <a:rPr lang="en-GB" sz="2000" b="0" i="1" smtClean="0">
                            <a:latin typeface="Cambria Math" panose="02040503050406030204" pitchFamily="18" charset="0"/>
                            <a:ea typeface="Cambria Math" panose="02040503050406030204" pitchFamily="18" charset="0"/>
                          </a:rPr>
                          <m:t>∆</m:t>
                        </m:r>
                        <m:r>
                          <a:rPr lang="en-GB" sz="2000" b="0" i="1" smtClean="0">
                            <a:latin typeface="Cambria Math" panose="02040503050406030204" pitchFamily="18" charset="0"/>
                            <a:ea typeface="Cambria Math" panose="02040503050406030204" pitchFamily="18" charset="0"/>
                          </a:rPr>
                          <m:t>𝑦</m:t>
                        </m:r>
                      </m:den>
                    </m:f>
                  </m:oMath>
                </a14:m>
                <a:r>
                  <a:rPr lang="en-GB" sz="2000" dirty="0"/>
                  <a:t>, where </a:t>
                </a:r>
                <a14:m>
                  <m:oMath xmlns:m="http://schemas.openxmlformats.org/officeDocument/2006/math">
                    <m:r>
                      <a:rPr lang="en-GB" sz="2000" i="1" smtClean="0">
                        <a:latin typeface="Cambria Math" panose="02040503050406030204" pitchFamily="18" charset="0"/>
                        <a:ea typeface="Cambria Math" panose="02040503050406030204" pitchFamily="18" charset="0"/>
                      </a:rPr>
                      <m:t>∆</m:t>
                    </m:r>
                    <m:r>
                      <a:rPr lang="en-GB" sz="2000" b="0" i="1" smtClean="0">
                        <a:latin typeface="Cambria Math" panose="02040503050406030204" pitchFamily="18" charset="0"/>
                        <a:ea typeface="Cambria Math" panose="02040503050406030204" pitchFamily="18" charset="0"/>
                      </a:rPr>
                      <m:t>𝑦</m:t>
                    </m:r>
                  </m:oMath>
                </a14:m>
                <a:r>
                  <a:rPr lang="en-GB" sz="2000" dirty="0"/>
                  <a:t> is distance in the y direction to the path</a:t>
                </a:r>
              </a:p>
              <a:p>
                <a:pPr lvl="1">
                  <a:spcAft>
                    <a:spcPts val="0"/>
                  </a:spcAft>
                </a:pPr>
                <a:r>
                  <a:rPr lang="en-GB" sz="2000" dirty="0"/>
                  <a:t>At start and end points, use total distance instead</a:t>
                </a:r>
              </a:p>
              <a:p>
                <a:pPr lvl="1">
                  <a:spcAft>
                    <a:spcPts val="0"/>
                  </a:spcAft>
                </a:pPr>
                <a:r>
                  <a:rPr lang="en-GB" sz="2000" dirty="0"/>
                  <a:t>Slope the function in the direction of travel</a:t>
                </a:r>
              </a:p>
              <a:p>
                <a:pPr lvl="1">
                  <a:spcAft>
                    <a:spcPts val="0"/>
                  </a:spcAft>
                </a:pPr>
                <a:r>
                  <a:rPr lang="en-GB" sz="2000" b="1" dirty="0"/>
                  <a:t>The reward is the change in value – incentivised to travel to the goal along the path.</a:t>
                </a:r>
              </a:p>
              <a:p>
                <a:pPr marL="0" lvl="1" indent="0">
                  <a:spcAft>
                    <a:spcPts val="0"/>
                  </a:spcAft>
                  <a:buNone/>
                </a:pPr>
                <a:endParaRPr lang="en-GB" sz="2000" dirty="0"/>
              </a:p>
              <a:p>
                <a:pPr lvl="1">
                  <a:spcAft>
                    <a:spcPts val="0"/>
                  </a:spcAft>
                </a:pPr>
                <a:endParaRPr lang="en-GB" sz="2000" dirty="0"/>
              </a:p>
            </p:txBody>
          </p:sp>
        </mc:Choice>
        <mc:Fallback xmlns="">
          <p:sp>
            <p:nvSpPr>
              <p:cNvPr id="5" name="ee4pContent1">
                <a:extLst>
                  <a:ext uri="{FF2B5EF4-FFF2-40B4-BE49-F238E27FC236}">
                    <a16:creationId xmlns:a16="http://schemas.microsoft.com/office/drawing/2014/main" id="{97A97E32-07A0-BB84-A2DA-899378CD36A8}"/>
                  </a:ext>
                </a:extLst>
              </p:cNvPr>
              <p:cNvSpPr txBox="1">
                <a:spLocks noRot="1" noChangeAspect="1" noMove="1" noResize="1" noEditPoints="1" noAdjustHandles="1" noChangeArrowheads="1" noChangeShapeType="1" noTextEdit="1"/>
              </p:cNvSpPr>
              <p:nvPr>
                <p:custDataLst>
                  <p:tags r:id="rId4"/>
                </p:custDataLst>
              </p:nvPr>
            </p:nvSpPr>
            <p:spPr>
              <a:xfrm>
                <a:off x="345425" y="1754376"/>
                <a:ext cx="5438156" cy="4360674"/>
              </a:xfrm>
              <a:prstGeom prst="rect">
                <a:avLst/>
              </a:prstGeom>
              <a:blipFill>
                <a:blip r:embed="rId5"/>
                <a:stretch>
                  <a:fillRect l="-1007" r="-336"/>
                </a:stretch>
              </a:blipFill>
              <a:ln w="9525" cmpd="sng">
                <a:solidFill>
                  <a:schemeClr val="accent1">
                    <a:lumMod val="100000"/>
                  </a:schemeClr>
                </a:solidFill>
                <a:prstDash val="solid"/>
              </a:ln>
            </p:spPr>
            <p:txBody>
              <a:bodyPr/>
              <a:lstStyle/>
              <a:p>
                <a:r>
                  <a:rPr lang="en-GB">
                    <a:noFill/>
                  </a:rPr>
                  <a:t> </a:t>
                </a:r>
              </a:p>
            </p:txBody>
          </p:sp>
        </mc:Fallback>
      </mc:AlternateContent>
      <p:pic>
        <p:nvPicPr>
          <p:cNvPr id="10" name="Picture 9">
            <a:extLst>
              <a:ext uri="{FF2B5EF4-FFF2-40B4-BE49-F238E27FC236}">
                <a16:creationId xmlns:a16="http://schemas.microsoft.com/office/drawing/2014/main" id="{C40D9F37-AFD1-E29E-21F4-4A7714997C49}"/>
              </a:ext>
            </a:extLst>
          </p:cNvPr>
          <p:cNvPicPr>
            <a:picLocks noChangeAspect="1"/>
          </p:cNvPicPr>
          <p:nvPr/>
        </p:nvPicPr>
        <p:blipFill>
          <a:blip r:embed="rId6"/>
          <a:stretch>
            <a:fillRect/>
          </a:stretch>
        </p:blipFill>
        <p:spPr>
          <a:xfrm>
            <a:off x="5850081" y="1438486"/>
            <a:ext cx="6113760" cy="4612135"/>
          </a:xfrm>
          <a:prstGeom prst="rect">
            <a:avLst/>
          </a:prstGeom>
        </p:spPr>
      </p:pic>
      <p:sp>
        <p:nvSpPr>
          <p:cNvPr id="12" name="Text Placeholder 2">
            <a:extLst>
              <a:ext uri="{FF2B5EF4-FFF2-40B4-BE49-F238E27FC236}">
                <a16:creationId xmlns:a16="http://schemas.microsoft.com/office/drawing/2014/main" id="{C2F961D2-C451-F9B6-E8C8-DABFEAEEF5F4}"/>
              </a:ext>
            </a:extLst>
          </p:cNvPr>
          <p:cNvSpPr txBox="1">
            <a:spLocks/>
          </p:cNvSpPr>
          <p:nvPr/>
        </p:nvSpPr>
        <p:spPr>
          <a:xfrm>
            <a:off x="6209035" y="6128642"/>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Figure 3: Value function for path from x = 0 to x = 0.5. </a:t>
            </a:r>
          </a:p>
          <a:p>
            <a:r>
              <a:rPr lang="en-GB" dirty="0"/>
              <a:t>Change in ‘value’ generates reward.</a:t>
            </a:r>
          </a:p>
        </p:txBody>
      </p:sp>
    </p:spTree>
    <p:extLst>
      <p:ext uri="{BB962C8B-B14F-4D97-AF65-F5344CB8AC3E}">
        <p14:creationId xmlns:p14="http://schemas.microsoft.com/office/powerpoint/2010/main" val="12472368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0C063-7DDD-2F5D-D7F3-2B49D02E1DD6}"/>
              </a:ext>
            </a:extLst>
          </p:cNvPr>
          <p:cNvSpPr>
            <a:spLocks noGrp="1"/>
          </p:cNvSpPr>
          <p:nvPr>
            <p:ph type="title"/>
          </p:nvPr>
        </p:nvSpPr>
        <p:spPr/>
        <p:txBody>
          <a:bodyPr/>
          <a:lstStyle/>
          <a:p>
            <a:r>
              <a:rPr lang="en-GB" dirty="0"/>
              <a:t>Results: Straight Line Tests</a:t>
            </a:r>
          </a:p>
        </p:txBody>
      </p:sp>
      <p:sp>
        <p:nvSpPr>
          <p:cNvPr id="3" name="Text Placeholder 2">
            <a:extLst>
              <a:ext uri="{FF2B5EF4-FFF2-40B4-BE49-F238E27FC236}">
                <a16:creationId xmlns:a16="http://schemas.microsoft.com/office/drawing/2014/main" id="{477EB7E1-D390-9071-7132-5ED4A29A074A}"/>
              </a:ext>
            </a:extLst>
          </p:cNvPr>
          <p:cNvSpPr>
            <a:spLocks noGrp="1"/>
          </p:cNvSpPr>
          <p:nvPr>
            <p:ph type="body" sz="quarter" idx="13"/>
          </p:nvPr>
        </p:nvSpPr>
        <p:spPr/>
        <p:txBody>
          <a:bodyPr/>
          <a:lstStyle/>
          <a:p>
            <a:endParaRPr lang="en-GB" dirty="0"/>
          </a:p>
        </p:txBody>
      </p:sp>
      <p:sp>
        <p:nvSpPr>
          <p:cNvPr id="4" name="Slide Number Placeholder 3">
            <a:extLst>
              <a:ext uri="{FF2B5EF4-FFF2-40B4-BE49-F238E27FC236}">
                <a16:creationId xmlns:a16="http://schemas.microsoft.com/office/drawing/2014/main" id="{A01AD7DB-2908-726D-FF83-B5AE464C241B}"/>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15</a:t>
            </a:fld>
            <a:endParaRPr lang="en-US" dirty="0"/>
          </a:p>
        </p:txBody>
      </p:sp>
      <p:pic>
        <p:nvPicPr>
          <p:cNvPr id="6" name="Picture 5">
            <a:extLst>
              <a:ext uri="{FF2B5EF4-FFF2-40B4-BE49-F238E27FC236}">
                <a16:creationId xmlns:a16="http://schemas.microsoft.com/office/drawing/2014/main" id="{C51A76E8-327B-8FAB-CBEC-3B5698A320C8}"/>
              </a:ext>
            </a:extLst>
          </p:cNvPr>
          <p:cNvPicPr>
            <a:picLocks noChangeAspect="1"/>
          </p:cNvPicPr>
          <p:nvPr/>
        </p:nvPicPr>
        <p:blipFill rotWithShape="1">
          <a:blip r:embed="rId4"/>
          <a:srcRect t="5155"/>
          <a:stretch/>
        </p:blipFill>
        <p:spPr>
          <a:xfrm>
            <a:off x="5977717" y="1909482"/>
            <a:ext cx="5918426" cy="4370933"/>
          </a:xfrm>
          <a:prstGeom prst="rect">
            <a:avLst/>
          </a:prstGeom>
        </p:spPr>
      </p:pic>
      <mc:AlternateContent xmlns:mc="http://schemas.openxmlformats.org/markup-compatibility/2006" xmlns:a14="http://schemas.microsoft.com/office/drawing/2010/main">
        <mc:Choice Requires="a14">
          <p:sp>
            <p:nvSpPr>
              <p:cNvPr id="7" name="ee4pContent1">
                <a:extLst>
                  <a:ext uri="{FF2B5EF4-FFF2-40B4-BE49-F238E27FC236}">
                    <a16:creationId xmlns:a16="http://schemas.microsoft.com/office/drawing/2014/main" id="{9BAD4FD2-48C8-6D14-C3A8-2D99AB35B393}"/>
                  </a:ext>
                </a:extLst>
              </p:cNvPr>
              <p:cNvSpPr txBox="1">
                <a:spLocks/>
              </p:cNvSpPr>
              <p:nvPr>
                <p:custDataLst>
                  <p:tags r:id="rId1"/>
                </p:custDataLst>
              </p:nvPr>
            </p:nvSpPr>
            <p:spPr>
              <a:xfrm>
                <a:off x="141399" y="1671902"/>
                <a:ext cx="5596033" cy="404309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Find time is minimised best by adding </a:t>
                </a:r>
                <a14:m>
                  <m:oMath xmlns:m="http://schemas.openxmlformats.org/officeDocument/2006/math">
                    <m:f>
                      <m:fPr>
                        <m:type m:val="skw"/>
                        <m:ctrlPr>
                          <a:rPr lang="en-GB" sz="1800" i="1" smtClean="0">
                            <a:latin typeface="Cambria Math" panose="02040503050406030204" pitchFamily="18" charset="0"/>
                          </a:rPr>
                        </m:ctrlPr>
                      </m:fPr>
                      <m:num>
                        <m:r>
                          <a:rPr lang="en-GB" sz="1800" b="0" i="1" smtClean="0">
                            <a:latin typeface="Cambria Math" panose="02040503050406030204" pitchFamily="18" charset="0"/>
                          </a:rPr>
                          <m:t>1</m:t>
                        </m:r>
                      </m:num>
                      <m:den>
                        <m:r>
                          <a:rPr lang="en-GB" sz="1800" b="0" i="1" smtClean="0">
                            <a:latin typeface="Cambria Math" panose="02040503050406030204" pitchFamily="18" charset="0"/>
                          </a:rPr>
                          <m:t>1+</m:t>
                        </m:r>
                        <m:r>
                          <a:rPr lang="en-GB" sz="1800" b="0" i="1" smtClean="0">
                            <a:latin typeface="Cambria Math" panose="02040503050406030204" pitchFamily="18" charset="0"/>
                          </a:rPr>
                          <m:t>𝑓𝑖𝑛𝑎𝑙</m:t>
                        </m:r>
                        <m:r>
                          <a:rPr lang="en-GB" sz="1800" b="0" i="1" smtClean="0">
                            <a:latin typeface="Cambria Math" panose="02040503050406030204" pitchFamily="18" charset="0"/>
                          </a:rPr>
                          <m:t> </m:t>
                        </m:r>
                        <m:r>
                          <a:rPr lang="en-GB" sz="1800" b="0" i="1" smtClean="0">
                            <a:latin typeface="Cambria Math" panose="02040503050406030204" pitchFamily="18" charset="0"/>
                          </a:rPr>
                          <m:t>𝑡𝑖𝑚𝑒</m:t>
                        </m:r>
                      </m:den>
                    </m:f>
                  </m:oMath>
                </a14:m>
                <a:r>
                  <a:rPr lang="en-GB" sz="1800" dirty="0"/>
                  <a:t> if successful. </a:t>
                </a:r>
              </a:p>
              <a:p>
                <a:pPr lvl="1">
                  <a:spcAft>
                    <a:spcPts val="0"/>
                  </a:spcAft>
                </a:pPr>
                <a:r>
                  <a:rPr lang="en-GB" sz="1800" dirty="0"/>
                  <a:t>Tested on 2D plane – goal is path from x = 0 to x = 0.5, max velocity = 0.1</a:t>
                </a:r>
              </a:p>
              <a:p>
                <a:pPr lvl="1">
                  <a:spcAft>
                    <a:spcPts val="0"/>
                  </a:spcAft>
                </a:pPr>
                <a:r>
                  <a:rPr lang="en-GB" sz="1800" b="1" dirty="0"/>
                  <a:t>Succeeds  ~82% of the time</a:t>
                </a:r>
              </a:p>
              <a:p>
                <a:pPr lvl="1">
                  <a:spcAft>
                    <a:spcPts val="0"/>
                  </a:spcAft>
                </a:pPr>
                <a:r>
                  <a:rPr lang="en-GB" sz="1800" dirty="0"/>
                  <a:t>Fastest possible time is 5.1  - successful results are between 5.1 and 5.3</a:t>
                </a:r>
              </a:p>
              <a:p>
                <a:pPr lvl="1">
                  <a:spcAft>
                    <a:spcPts val="0"/>
                  </a:spcAft>
                </a:pPr>
                <a:r>
                  <a:rPr lang="en-GB" sz="1800" dirty="0"/>
                  <a:t>Parameters are optimised using </a:t>
                </a:r>
                <a:r>
                  <a:rPr lang="en-GB" sz="1800" dirty="0" err="1"/>
                  <a:t>Optuna</a:t>
                </a:r>
                <a:r>
                  <a:rPr lang="en-GB" sz="1800" dirty="0"/>
                  <a:t>, hyperparameter tuner, including tilt of reward function, height of rewards, and RNN parameters. </a:t>
                </a:r>
              </a:p>
              <a:p>
                <a:pPr marL="0" lvl="1" indent="0">
                  <a:spcAft>
                    <a:spcPts val="0"/>
                  </a:spcAft>
                  <a:buNone/>
                </a:pPr>
                <a:endParaRPr lang="en-GB" sz="1800" dirty="0"/>
              </a:p>
              <a:p>
                <a:pPr marL="0" lvl="1" indent="0">
                  <a:spcAft>
                    <a:spcPts val="0"/>
                  </a:spcAft>
                  <a:buNone/>
                </a:pPr>
                <a:endParaRPr lang="en-GB" sz="1800" dirty="0"/>
              </a:p>
            </p:txBody>
          </p:sp>
        </mc:Choice>
        <mc:Fallback xmlns="">
          <p:sp>
            <p:nvSpPr>
              <p:cNvPr id="7" name="ee4pContent1">
                <a:extLst>
                  <a:ext uri="{FF2B5EF4-FFF2-40B4-BE49-F238E27FC236}">
                    <a16:creationId xmlns:a16="http://schemas.microsoft.com/office/drawing/2014/main" id="{9BAD4FD2-48C8-6D14-C3A8-2D99AB35B393}"/>
                  </a:ext>
                </a:extLst>
              </p:cNvPr>
              <p:cNvSpPr txBox="1">
                <a:spLocks noRot="1" noChangeAspect="1" noMove="1" noResize="1" noEditPoints="1" noAdjustHandles="1" noChangeArrowheads="1" noChangeShapeType="1" noTextEdit="1"/>
              </p:cNvSpPr>
              <p:nvPr>
                <p:custDataLst>
                  <p:tags r:id="rId5"/>
                </p:custDataLst>
              </p:nvPr>
            </p:nvSpPr>
            <p:spPr>
              <a:xfrm>
                <a:off x="141399" y="1671902"/>
                <a:ext cx="5596033" cy="4043098"/>
              </a:xfrm>
              <a:prstGeom prst="rect">
                <a:avLst/>
              </a:prstGeom>
              <a:blipFill>
                <a:blip r:embed="rId6"/>
                <a:stretch>
                  <a:fillRect l="-652" t="-12613"/>
                </a:stretch>
              </a:blipFill>
              <a:ln w="9525" cmpd="sng">
                <a:solidFill>
                  <a:schemeClr val="accent1">
                    <a:lumMod val="100000"/>
                  </a:schemeClr>
                </a:solidFill>
                <a:prstDash val="solid"/>
              </a:ln>
            </p:spPr>
            <p:txBody>
              <a:bodyPr/>
              <a:lstStyle/>
              <a:p>
                <a:r>
                  <a:rPr lang="en-GB">
                    <a:noFill/>
                  </a:rPr>
                  <a:t> </a:t>
                </a:r>
              </a:p>
            </p:txBody>
          </p:sp>
        </mc:Fallback>
      </mc:AlternateContent>
      <p:sp>
        <p:nvSpPr>
          <p:cNvPr id="8" name="Text Placeholder 2">
            <a:extLst>
              <a:ext uri="{FF2B5EF4-FFF2-40B4-BE49-F238E27FC236}">
                <a16:creationId xmlns:a16="http://schemas.microsoft.com/office/drawing/2014/main" id="{A0DE806F-4335-9470-AEC2-BA94557CC6AC}"/>
              </a:ext>
            </a:extLst>
          </p:cNvPr>
          <p:cNvSpPr txBox="1">
            <a:spLocks/>
          </p:cNvSpPr>
          <p:nvPr/>
        </p:nvSpPr>
        <p:spPr>
          <a:xfrm>
            <a:off x="6323335" y="6213037"/>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Figure 4: Value based reinforcement learning, outputs.</a:t>
            </a:r>
          </a:p>
        </p:txBody>
      </p:sp>
    </p:spTree>
    <p:extLst>
      <p:ext uri="{BB962C8B-B14F-4D97-AF65-F5344CB8AC3E}">
        <p14:creationId xmlns:p14="http://schemas.microsoft.com/office/powerpoint/2010/main" val="4157471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B50B0-AECF-06D0-6CCF-5911E959B186}"/>
              </a:ext>
            </a:extLst>
          </p:cNvPr>
          <p:cNvSpPr>
            <a:spLocks noGrp="1"/>
          </p:cNvSpPr>
          <p:nvPr>
            <p:ph type="title"/>
          </p:nvPr>
        </p:nvSpPr>
        <p:spPr/>
        <p:txBody>
          <a:bodyPr/>
          <a:lstStyle/>
          <a:p>
            <a:r>
              <a:rPr lang="en-GB" dirty="0"/>
              <a:t>Future Steps</a:t>
            </a:r>
          </a:p>
        </p:txBody>
      </p:sp>
      <p:sp>
        <p:nvSpPr>
          <p:cNvPr id="3" name="Text Placeholder 2">
            <a:extLst>
              <a:ext uri="{FF2B5EF4-FFF2-40B4-BE49-F238E27FC236}">
                <a16:creationId xmlns:a16="http://schemas.microsoft.com/office/drawing/2014/main" id="{E11C3FA4-D459-0590-3604-10DA6CC55A81}"/>
              </a:ext>
            </a:extLst>
          </p:cNvPr>
          <p:cNvSpPr>
            <a:spLocks noGrp="1"/>
          </p:cNvSpPr>
          <p:nvPr>
            <p:ph type="body" sz="quarter" idx="13"/>
          </p:nvPr>
        </p:nvSpPr>
        <p:spPr/>
        <p:txBody>
          <a:bodyPr/>
          <a:lstStyle/>
          <a:p>
            <a:endParaRPr lang="en-GB"/>
          </a:p>
        </p:txBody>
      </p:sp>
      <p:sp>
        <p:nvSpPr>
          <p:cNvPr id="4" name="Slide Number Placeholder 3">
            <a:extLst>
              <a:ext uri="{FF2B5EF4-FFF2-40B4-BE49-F238E27FC236}">
                <a16:creationId xmlns:a16="http://schemas.microsoft.com/office/drawing/2014/main" id="{41A0CDE8-12F6-1F3E-5A66-69242C2B4689}"/>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16</a:t>
            </a:fld>
            <a:endParaRPr lang="en-US" dirty="0"/>
          </a:p>
        </p:txBody>
      </p:sp>
      <p:sp>
        <p:nvSpPr>
          <p:cNvPr id="14" name="ee4pContent1">
            <a:extLst>
              <a:ext uri="{FF2B5EF4-FFF2-40B4-BE49-F238E27FC236}">
                <a16:creationId xmlns:a16="http://schemas.microsoft.com/office/drawing/2014/main" id="{5F868D5F-739A-A8CD-D1EE-EF18CC69C981}"/>
              </a:ext>
            </a:extLst>
          </p:cNvPr>
          <p:cNvSpPr txBox="1">
            <a:spLocks/>
          </p:cNvSpPr>
          <p:nvPr>
            <p:custDataLst>
              <p:tags r:id="rId1"/>
            </p:custDataLst>
          </p:nvPr>
        </p:nvSpPr>
        <p:spPr>
          <a:xfrm>
            <a:off x="1024290" y="1808163"/>
            <a:ext cx="10738066" cy="14205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Test with more complex paths involving acceleration</a:t>
            </a:r>
          </a:p>
          <a:p>
            <a:pPr lvl="1">
              <a:spcAft>
                <a:spcPts val="0"/>
              </a:spcAft>
            </a:pPr>
            <a:r>
              <a:rPr lang="en-GB" sz="1800" dirty="0"/>
              <a:t>Will likely need pretraining to work – the acceleration transfer function sets constant velocity segments to 0, making it difficult to use.</a:t>
            </a:r>
          </a:p>
          <a:p>
            <a:pPr lvl="1">
              <a:spcAft>
                <a:spcPts val="0"/>
              </a:spcAft>
            </a:pPr>
            <a:r>
              <a:rPr lang="en-GB" sz="1800" dirty="0"/>
              <a:t>Look into allowing the laser to turn off (could be faster at corners).</a:t>
            </a:r>
          </a:p>
        </p:txBody>
      </p:sp>
      <p:sp>
        <p:nvSpPr>
          <p:cNvPr id="15" name="ee4pContent1">
            <a:extLst>
              <a:ext uri="{FF2B5EF4-FFF2-40B4-BE49-F238E27FC236}">
                <a16:creationId xmlns:a16="http://schemas.microsoft.com/office/drawing/2014/main" id="{B17921DE-2DC5-7AB9-D98D-76AEF58F16F9}"/>
              </a:ext>
            </a:extLst>
          </p:cNvPr>
          <p:cNvSpPr txBox="1">
            <a:spLocks/>
          </p:cNvSpPr>
          <p:nvPr>
            <p:custDataLst>
              <p:tags r:id="rId2"/>
            </p:custDataLst>
          </p:nvPr>
        </p:nvSpPr>
        <p:spPr>
          <a:xfrm>
            <a:off x="1024290" y="3402137"/>
            <a:ext cx="10738066" cy="14205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Can investigate ‘dynamics randomisation’, letting the agent learn how to deal with random errors</a:t>
            </a:r>
          </a:p>
          <a:p>
            <a:pPr lvl="1">
              <a:spcAft>
                <a:spcPts val="0"/>
              </a:spcAft>
            </a:pPr>
            <a:r>
              <a:rPr lang="en-GB" sz="1800" dirty="0"/>
              <a:t>Unlikely to ever have a high enough success rate to control directly - </a:t>
            </a:r>
            <a:r>
              <a:rPr lang="en-GB" sz="1800" b="1" dirty="0"/>
              <a:t>~70% is good in RL [4]</a:t>
            </a:r>
            <a:endParaRPr lang="en-GB" sz="1800" dirty="0"/>
          </a:p>
          <a:p>
            <a:pPr lvl="1">
              <a:spcAft>
                <a:spcPts val="0"/>
              </a:spcAft>
            </a:pPr>
            <a:r>
              <a:rPr lang="en-GB" sz="1800" dirty="0"/>
              <a:t>Instead take best results as training data for supervised learning</a:t>
            </a:r>
          </a:p>
        </p:txBody>
      </p:sp>
      <p:sp>
        <p:nvSpPr>
          <p:cNvPr id="16" name="ee4pContent1">
            <a:extLst>
              <a:ext uri="{FF2B5EF4-FFF2-40B4-BE49-F238E27FC236}">
                <a16:creationId xmlns:a16="http://schemas.microsoft.com/office/drawing/2014/main" id="{2EA6C664-9C01-1340-C7FB-DA76990E673B}"/>
              </a:ext>
            </a:extLst>
          </p:cNvPr>
          <p:cNvSpPr txBox="1">
            <a:spLocks/>
          </p:cNvSpPr>
          <p:nvPr>
            <p:custDataLst>
              <p:tags r:id="rId3"/>
            </p:custDataLst>
          </p:nvPr>
        </p:nvSpPr>
        <p:spPr>
          <a:xfrm>
            <a:off x="1024290" y="4996112"/>
            <a:ext cx="10738066" cy="142056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Continue to tune hyperparameters + reward function. </a:t>
            </a:r>
          </a:p>
          <a:p>
            <a:pPr lvl="1">
              <a:spcAft>
                <a:spcPts val="0"/>
              </a:spcAft>
            </a:pPr>
            <a:r>
              <a:rPr lang="en-GB" sz="1800" dirty="0"/>
              <a:t>Make </a:t>
            </a:r>
            <a:r>
              <a:rPr lang="en-GB" sz="1800" dirty="0" err="1"/>
              <a:t>Optuna</a:t>
            </a:r>
            <a:r>
              <a:rPr lang="en-GB" sz="1800" dirty="0"/>
              <a:t> multithreaded to take full advantage of HPC.</a:t>
            </a:r>
          </a:p>
          <a:p>
            <a:pPr lvl="1">
              <a:spcAft>
                <a:spcPts val="0"/>
              </a:spcAft>
            </a:pPr>
            <a:r>
              <a:rPr lang="en-GB" sz="1800" dirty="0"/>
              <a:t>Test different reinforcement learning algorithms e.g. PPO, SAC </a:t>
            </a:r>
          </a:p>
        </p:txBody>
      </p:sp>
      <p:sp>
        <p:nvSpPr>
          <p:cNvPr id="17" name="ee4pHeader1">
            <a:extLst>
              <a:ext uri="{FF2B5EF4-FFF2-40B4-BE49-F238E27FC236}">
                <a16:creationId xmlns:a16="http://schemas.microsoft.com/office/drawing/2014/main" id="{90281618-A92D-7C46-0515-BF2C9CD1FB7E}"/>
              </a:ext>
            </a:extLst>
          </p:cNvPr>
          <p:cNvSpPr/>
          <p:nvPr>
            <p:custDataLst>
              <p:tags r:id="rId4"/>
            </p:custDataLst>
          </p:nvPr>
        </p:nvSpPr>
        <p:spPr bwMode="auto">
          <a:xfrm rot="16200000">
            <a:off x="14591" y="2219028"/>
            <a:ext cx="1420562" cy="598833"/>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More Paths</a:t>
            </a:r>
          </a:p>
        </p:txBody>
      </p:sp>
      <p:sp>
        <p:nvSpPr>
          <p:cNvPr id="18" name="ee4pHeader2">
            <a:extLst>
              <a:ext uri="{FF2B5EF4-FFF2-40B4-BE49-F238E27FC236}">
                <a16:creationId xmlns:a16="http://schemas.microsoft.com/office/drawing/2014/main" id="{0ABC1A66-DAF5-8687-0127-274884C34472}"/>
              </a:ext>
            </a:extLst>
          </p:cNvPr>
          <p:cNvSpPr/>
          <p:nvPr>
            <p:custDataLst>
              <p:tags r:id="rId5"/>
            </p:custDataLst>
          </p:nvPr>
        </p:nvSpPr>
        <p:spPr bwMode="auto">
          <a:xfrm rot="16200000">
            <a:off x="14591" y="3813003"/>
            <a:ext cx="1420562" cy="598833"/>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Closed Loop</a:t>
            </a:r>
          </a:p>
        </p:txBody>
      </p:sp>
      <p:sp>
        <p:nvSpPr>
          <p:cNvPr id="19" name="ee4pHeader3">
            <a:extLst>
              <a:ext uri="{FF2B5EF4-FFF2-40B4-BE49-F238E27FC236}">
                <a16:creationId xmlns:a16="http://schemas.microsoft.com/office/drawing/2014/main" id="{980D3117-4FB1-A4BF-5670-CB7FD267B5F1}"/>
              </a:ext>
            </a:extLst>
          </p:cNvPr>
          <p:cNvSpPr/>
          <p:nvPr>
            <p:custDataLst>
              <p:tags r:id="rId6"/>
            </p:custDataLst>
          </p:nvPr>
        </p:nvSpPr>
        <p:spPr bwMode="auto">
          <a:xfrm rot="16200000">
            <a:off x="14591" y="5406976"/>
            <a:ext cx="1420562" cy="598833"/>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Tuning</a:t>
            </a:r>
          </a:p>
        </p:txBody>
      </p:sp>
    </p:spTree>
    <p:extLst>
      <p:ext uri="{BB962C8B-B14F-4D97-AF65-F5344CB8AC3E}">
        <p14:creationId xmlns:p14="http://schemas.microsoft.com/office/powerpoint/2010/main" val="15734782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7</a:t>
            </a:fld>
            <a:endParaRPr lang="de-DE" dirty="0"/>
          </a:p>
        </p:txBody>
      </p:sp>
      <p:sp>
        <p:nvSpPr>
          <p:cNvPr id="3" name="Textplatzhalter 2"/>
          <p:cNvSpPr>
            <a:spLocks noGrp="1"/>
          </p:cNvSpPr>
          <p:nvPr>
            <p:ph type="body" sz="quarter" idx="18"/>
          </p:nvPr>
        </p:nvSpPr>
        <p:spPr/>
        <p:txBody>
          <a:bodyPr/>
          <a:lstStyle/>
          <a:p>
            <a:endParaRPr lang="de-DE" dirty="0"/>
          </a:p>
        </p:txBody>
      </p:sp>
      <p:sp>
        <p:nvSpPr>
          <p:cNvPr id="4" name="Textplatzhalter 3"/>
          <p:cNvSpPr>
            <a:spLocks noGrp="1"/>
          </p:cNvSpPr>
          <p:nvPr>
            <p:ph type="body" sz="quarter" idx="19"/>
          </p:nvPr>
        </p:nvSpPr>
        <p:spPr/>
        <p:txBody>
          <a:bodyPr/>
          <a:lstStyle/>
          <a:p>
            <a:r>
              <a:rPr lang="de-DE" dirty="0"/>
              <a:t>Natakala Dakshesh</a:t>
            </a:r>
          </a:p>
        </p:txBody>
      </p:sp>
      <p:sp>
        <p:nvSpPr>
          <p:cNvPr id="5" name="Textplatzhalter 4"/>
          <p:cNvSpPr>
            <a:spLocks noGrp="1"/>
          </p:cNvSpPr>
          <p:nvPr>
            <p:ph type="body" sz="quarter" idx="20"/>
          </p:nvPr>
        </p:nvSpPr>
        <p:spPr/>
        <p:txBody>
          <a:bodyPr/>
          <a:lstStyle/>
          <a:p>
            <a:endParaRPr lang="de-DE"/>
          </a:p>
        </p:txBody>
      </p:sp>
      <p:sp>
        <p:nvSpPr>
          <p:cNvPr id="6" name="Textplatzhalter 5"/>
          <p:cNvSpPr>
            <a:spLocks noGrp="1"/>
          </p:cNvSpPr>
          <p:nvPr>
            <p:ph type="body" sz="quarter" idx="21"/>
          </p:nvPr>
        </p:nvSpPr>
        <p:spPr/>
        <p:txBody>
          <a:bodyPr/>
          <a:lstStyle/>
          <a:p>
            <a:endParaRPr lang="de-DE" dirty="0"/>
          </a:p>
        </p:txBody>
      </p:sp>
      <p:sp>
        <p:nvSpPr>
          <p:cNvPr id="7" name="ee4pContent1">
            <a:extLst>
              <a:ext uri="{FF2B5EF4-FFF2-40B4-BE49-F238E27FC236}">
                <a16:creationId xmlns:a16="http://schemas.microsoft.com/office/drawing/2014/main" id="{3739EA30-2E01-EAE7-6819-00707B6E6E9F}"/>
              </a:ext>
            </a:extLst>
          </p:cNvPr>
          <p:cNvSpPr txBox="1">
            <a:spLocks/>
          </p:cNvSpPr>
          <p:nvPr>
            <p:custDataLst>
              <p:tags r:id="rId1"/>
            </p:custDataLst>
          </p:nvPr>
        </p:nvSpPr>
        <p:spPr>
          <a:xfrm>
            <a:off x="1607574" y="3863166"/>
            <a:ext cx="2388474" cy="561567"/>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spcAft>
                <a:spcPts val="0"/>
              </a:spcAft>
              <a:buNone/>
            </a:pPr>
            <a:r>
              <a:rPr lang="en-GB" dirty="0"/>
              <a:t>TUM PREP</a:t>
            </a:r>
          </a:p>
        </p:txBody>
      </p:sp>
      <p:sp>
        <p:nvSpPr>
          <p:cNvPr id="11" name="TextBox 10">
            <a:extLst>
              <a:ext uri="{FF2B5EF4-FFF2-40B4-BE49-F238E27FC236}">
                <a16:creationId xmlns:a16="http://schemas.microsoft.com/office/drawing/2014/main" id="{54CC3F45-3C1D-0B86-47B6-264886722E70}"/>
              </a:ext>
            </a:extLst>
          </p:cNvPr>
          <p:cNvSpPr txBox="1"/>
          <p:nvPr/>
        </p:nvSpPr>
        <p:spPr>
          <a:xfrm>
            <a:off x="8289435" y="1297016"/>
            <a:ext cx="3778288" cy="5693866"/>
          </a:xfrm>
          <a:prstGeom prst="rect">
            <a:avLst/>
          </a:prstGeom>
          <a:noFill/>
        </p:spPr>
        <p:txBody>
          <a:bodyPr wrap="square">
            <a:spAutoFit/>
          </a:bodyPr>
          <a:lstStyle/>
          <a:p>
            <a:r>
              <a:rPr lang="en-GB" sz="1400" dirty="0"/>
              <a:t>[1]</a:t>
            </a:r>
            <a:r>
              <a:rPr lang="en-GB" sz="1400" i="1" dirty="0">
                <a:effectLst/>
              </a:rPr>
              <a:t> M. </a:t>
            </a:r>
            <a:r>
              <a:rPr lang="en-GB" sz="1400" i="1" dirty="0" err="1">
                <a:effectLst/>
              </a:rPr>
              <a:t>Bardi</a:t>
            </a:r>
            <a:r>
              <a:rPr lang="en-GB" sz="1400" i="1" dirty="0">
                <a:effectLst/>
              </a:rPr>
              <a:t> and I. C. </a:t>
            </a:r>
            <a:r>
              <a:rPr lang="en-GB" sz="1400" i="1" dirty="0" err="1">
                <a:effectLst/>
              </a:rPr>
              <a:t>Dolcetta</a:t>
            </a:r>
            <a:r>
              <a:rPr lang="en-GB" sz="1400" i="1" dirty="0">
                <a:effectLst/>
              </a:rPr>
              <a:t>, Optimal Control and Viscosity Solutions of Hamilton-Jacobi-Bellman Equations. Boston, MA: </a:t>
            </a:r>
            <a:r>
              <a:rPr lang="en-GB" sz="1400" i="1" dirty="0" err="1">
                <a:effectLst/>
              </a:rPr>
              <a:t>Birkhäuser</a:t>
            </a:r>
            <a:r>
              <a:rPr lang="en-GB" sz="1400" i="1" dirty="0">
                <a:effectLst/>
              </a:rPr>
              <a:t>, 1997. </a:t>
            </a:r>
          </a:p>
          <a:p>
            <a:endParaRPr lang="en-GB" sz="1400" i="1" dirty="0"/>
          </a:p>
          <a:p>
            <a:r>
              <a:rPr lang="en-GB" sz="1400" dirty="0"/>
              <a:t>[2] </a:t>
            </a:r>
            <a:r>
              <a:rPr lang="en-GB" sz="1400" i="1" dirty="0">
                <a:effectLst/>
              </a:rPr>
              <a:t>D. </a:t>
            </a:r>
            <a:r>
              <a:rPr lang="en-GB" sz="1400" i="1" dirty="0" err="1">
                <a:effectLst/>
              </a:rPr>
              <a:t>Verscheure</a:t>
            </a:r>
            <a:r>
              <a:rPr lang="en-GB" sz="1400" i="1" dirty="0">
                <a:effectLst/>
              </a:rPr>
              <a:t>, B. </a:t>
            </a:r>
            <a:r>
              <a:rPr lang="en-GB" sz="1400" i="1" dirty="0" err="1">
                <a:effectLst/>
              </a:rPr>
              <a:t>Demeulenaere</a:t>
            </a:r>
            <a:r>
              <a:rPr lang="en-GB" sz="1400" i="1" dirty="0">
                <a:effectLst/>
              </a:rPr>
              <a:t>, J. </a:t>
            </a:r>
            <a:r>
              <a:rPr lang="en-GB" sz="1400" i="1" dirty="0" err="1">
                <a:effectLst/>
              </a:rPr>
              <a:t>Swevers</a:t>
            </a:r>
            <a:r>
              <a:rPr lang="en-GB" sz="1400" i="1" dirty="0">
                <a:effectLst/>
              </a:rPr>
              <a:t>, J. De </a:t>
            </a:r>
            <a:r>
              <a:rPr lang="en-GB" sz="1400" i="1" dirty="0" err="1">
                <a:effectLst/>
              </a:rPr>
              <a:t>Schutter</a:t>
            </a:r>
            <a:r>
              <a:rPr lang="en-GB" sz="1400" i="1" dirty="0">
                <a:effectLst/>
              </a:rPr>
              <a:t>, and M. Diehl, “Time-optimal path tracking for robots: A convex optimization approach,” IEEE Transactions on Automatic Control, vol. 54, no. 10, pp. 2318–2327, 2009. doi:10.1109/tac.2009.2028959 </a:t>
            </a:r>
          </a:p>
          <a:p>
            <a:endParaRPr lang="en-GB" sz="1400" i="1" dirty="0">
              <a:effectLst/>
            </a:endParaRPr>
          </a:p>
          <a:p>
            <a:r>
              <a:rPr lang="en-GB" sz="1400" dirty="0"/>
              <a:t>[3]</a:t>
            </a:r>
            <a:r>
              <a:rPr lang="en-GB" sz="1400" i="1" dirty="0">
                <a:effectLst/>
              </a:rPr>
              <a:t> N. </a:t>
            </a:r>
            <a:r>
              <a:rPr lang="en-GB" sz="1400" i="1" dirty="0" err="1">
                <a:effectLst/>
              </a:rPr>
              <a:t>Negarchi</a:t>
            </a:r>
            <a:r>
              <a:rPr lang="en-GB" sz="1400" i="1" dirty="0">
                <a:effectLst/>
              </a:rPr>
              <a:t> and K. Nouri, “A new direct method for solving optimal control problem of nonlinear Volterra–</a:t>
            </a:r>
            <a:r>
              <a:rPr lang="en-GB" sz="1400" i="1" dirty="0" err="1">
                <a:effectLst/>
              </a:rPr>
              <a:t>fredholm</a:t>
            </a:r>
            <a:r>
              <a:rPr lang="en-GB" sz="1400" i="1" dirty="0">
                <a:effectLst/>
              </a:rPr>
              <a:t> integral equation via the </a:t>
            </a:r>
            <a:r>
              <a:rPr lang="en-GB" sz="1400" i="1" dirty="0" err="1">
                <a:effectLst/>
              </a:rPr>
              <a:t>Müntz</a:t>
            </a:r>
            <a:r>
              <a:rPr lang="en-GB" sz="1400" i="1" dirty="0">
                <a:effectLst/>
              </a:rPr>
              <a:t>–Legendre polynomials,” Bulletin of the Iranian Mathematical Society, vol. 45, no. 3, pp. 917–934, 2018. doi:10.1007/s41980-018-0173-z </a:t>
            </a:r>
          </a:p>
          <a:p>
            <a:endParaRPr lang="en-GB" sz="1400" i="1" dirty="0"/>
          </a:p>
          <a:p>
            <a:r>
              <a:rPr lang="en-GB" sz="1400" dirty="0"/>
              <a:t>[3]</a:t>
            </a:r>
            <a:r>
              <a:rPr lang="en-GB" sz="1400" i="1" dirty="0">
                <a:effectLst/>
              </a:rPr>
              <a:t> A. Pan, “Deep Reinforcement Learning doesn’t work yet,” </a:t>
            </a:r>
            <a:r>
              <a:rPr lang="en-GB" sz="1400" i="1" dirty="0" err="1">
                <a:effectLst/>
              </a:rPr>
              <a:t>Sorta</a:t>
            </a:r>
            <a:r>
              <a:rPr lang="en-GB" sz="1400" i="1" dirty="0">
                <a:effectLst/>
              </a:rPr>
              <a:t> Insightful, https://www.alexirpan.com/2018/02/14/rl-hard.html (accessed Aug. 25, 2023). </a:t>
            </a:r>
          </a:p>
          <a:p>
            <a:endParaRPr lang="en-GB" sz="1400" i="1" dirty="0">
              <a:effectLst/>
            </a:endParaRPr>
          </a:p>
        </p:txBody>
      </p:sp>
      <p:sp>
        <p:nvSpPr>
          <p:cNvPr id="12" name="TextBox 11">
            <a:extLst>
              <a:ext uri="{FF2B5EF4-FFF2-40B4-BE49-F238E27FC236}">
                <a16:creationId xmlns:a16="http://schemas.microsoft.com/office/drawing/2014/main" id="{C8ABEC49-4FBC-7F06-8370-C06BF2634A2C}"/>
              </a:ext>
            </a:extLst>
          </p:cNvPr>
          <p:cNvSpPr txBox="1"/>
          <p:nvPr/>
        </p:nvSpPr>
        <p:spPr>
          <a:xfrm>
            <a:off x="8393539" y="646967"/>
            <a:ext cx="3383118" cy="578813"/>
          </a:xfrm>
          <a:prstGeom prst="rect">
            <a:avLst/>
          </a:prstGeom>
          <a:noFill/>
        </p:spPr>
        <p:txBody>
          <a:bodyPr wrap="square" lIns="0" tIns="0" rIns="0" bIns="0" rtlCol="0">
            <a:spAutoFit/>
          </a:bodyPr>
          <a:lstStyle/>
          <a:p>
            <a:pPr algn="ctr">
              <a:lnSpc>
                <a:spcPct val="114000"/>
              </a:lnSpc>
            </a:pPr>
            <a:r>
              <a:rPr lang="en-GB" sz="3600" dirty="0">
                <a:latin typeface="+mj-lt"/>
              </a:rPr>
              <a:t>References</a:t>
            </a:r>
          </a:p>
        </p:txBody>
      </p:sp>
    </p:spTree>
    <p:extLst>
      <p:ext uri="{BB962C8B-B14F-4D97-AF65-F5344CB8AC3E}">
        <p14:creationId xmlns:p14="http://schemas.microsoft.com/office/powerpoint/2010/main" val="39201166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a:t>Methods</a:t>
            </a:r>
          </a:p>
        </p:txBody>
      </p:sp>
      <p:sp>
        <p:nvSpPr>
          <p:cNvPr id="7" name="Textplatzhalter 6"/>
          <p:cNvSpPr>
            <a:spLocks noGrp="1"/>
          </p:cNvSpPr>
          <p:nvPr>
            <p:ph type="body" sz="quarter" idx="13"/>
          </p:nvPr>
        </p:nvSpPr>
        <p:spPr/>
        <p:txBody>
          <a:bodyPr/>
          <a:lstStyle/>
          <a:p>
            <a:endParaRPr lang="de-DE"/>
          </a:p>
        </p:txBody>
      </p:sp>
      <p:sp>
        <p:nvSpPr>
          <p:cNvPr id="5" name="Foliennummernplatzhalter 4"/>
          <p:cNvSpPr>
            <a:spLocks noGrp="1"/>
          </p:cNvSpPr>
          <p:nvPr>
            <p:ph type="sldNum" sz="quarter" idx="4"/>
          </p:nvPr>
        </p:nvSpPr>
        <p:spPr/>
        <p:txBody>
          <a:bodyPr/>
          <a:lstStyle/>
          <a:p>
            <a:pPr algn="r">
              <a:lnSpc>
                <a:spcPct val="110000"/>
              </a:lnSpc>
            </a:pPr>
            <a:fld id="{0150336B-E114-481A-A5C5-087F4C05B58E}" type="slidenum">
              <a:rPr lang="de-DE" smtClean="0"/>
              <a:pPr algn="r">
                <a:lnSpc>
                  <a:spcPct val="110000"/>
                </a:lnSpc>
              </a:pPr>
              <a:t>18</a:t>
            </a:fld>
            <a:endParaRPr lang="de-DE" dirty="0"/>
          </a:p>
        </p:txBody>
      </p:sp>
      <p:sp>
        <p:nvSpPr>
          <p:cNvPr id="2" name="ee4pContent1">
            <a:extLst>
              <a:ext uri="{FF2B5EF4-FFF2-40B4-BE49-F238E27FC236}">
                <a16:creationId xmlns:a16="http://schemas.microsoft.com/office/drawing/2014/main" id="{F9C4ABE3-10AF-8F08-323F-898FEEA7D8E4}"/>
              </a:ext>
            </a:extLst>
          </p:cNvPr>
          <p:cNvSpPr txBox="1">
            <a:spLocks/>
          </p:cNvSpPr>
          <p:nvPr>
            <p:custDataLst>
              <p:tags r:id="rId1"/>
            </p:custDataLst>
          </p:nvPr>
        </p:nvSpPr>
        <p:spPr>
          <a:xfrm>
            <a:off x="1024290" y="1808166"/>
            <a:ext cx="10738068" cy="10317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a:t>Text</a:t>
            </a:r>
            <a:endParaRPr lang="en-GB" dirty="0"/>
          </a:p>
        </p:txBody>
      </p:sp>
      <p:sp>
        <p:nvSpPr>
          <p:cNvPr id="3" name="ee4pContent1">
            <a:extLst>
              <a:ext uri="{FF2B5EF4-FFF2-40B4-BE49-F238E27FC236}">
                <a16:creationId xmlns:a16="http://schemas.microsoft.com/office/drawing/2014/main" id="{C3D4757D-324F-C7AD-8ABE-269AB5F40EE2}"/>
              </a:ext>
            </a:extLst>
          </p:cNvPr>
          <p:cNvSpPr txBox="1">
            <a:spLocks/>
          </p:cNvSpPr>
          <p:nvPr>
            <p:custDataLst>
              <p:tags r:id="rId2"/>
            </p:custDataLst>
          </p:nvPr>
        </p:nvSpPr>
        <p:spPr>
          <a:xfrm>
            <a:off x="1024290" y="2999267"/>
            <a:ext cx="10738068" cy="10317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a:t>Text</a:t>
            </a:r>
            <a:endParaRPr lang="en-GB" dirty="0"/>
          </a:p>
        </p:txBody>
      </p:sp>
      <p:sp>
        <p:nvSpPr>
          <p:cNvPr id="4" name="ee4pContent1">
            <a:extLst>
              <a:ext uri="{FF2B5EF4-FFF2-40B4-BE49-F238E27FC236}">
                <a16:creationId xmlns:a16="http://schemas.microsoft.com/office/drawing/2014/main" id="{CA946022-8F85-AAA8-DC1F-FD25FFFEB4A7}"/>
              </a:ext>
            </a:extLst>
          </p:cNvPr>
          <p:cNvSpPr txBox="1">
            <a:spLocks/>
          </p:cNvSpPr>
          <p:nvPr>
            <p:custDataLst>
              <p:tags r:id="rId3"/>
            </p:custDataLst>
          </p:nvPr>
        </p:nvSpPr>
        <p:spPr>
          <a:xfrm>
            <a:off x="1024290" y="4192120"/>
            <a:ext cx="10738068" cy="10317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a:t>Text</a:t>
            </a:r>
            <a:endParaRPr lang="en-GB" dirty="0"/>
          </a:p>
        </p:txBody>
      </p:sp>
      <p:sp>
        <p:nvSpPr>
          <p:cNvPr id="8" name="ee4pContent1">
            <a:extLst>
              <a:ext uri="{FF2B5EF4-FFF2-40B4-BE49-F238E27FC236}">
                <a16:creationId xmlns:a16="http://schemas.microsoft.com/office/drawing/2014/main" id="{8A33B384-9D0C-3A36-DA82-AC3ECCF43795}"/>
              </a:ext>
            </a:extLst>
          </p:cNvPr>
          <p:cNvSpPr txBox="1">
            <a:spLocks/>
          </p:cNvSpPr>
          <p:nvPr>
            <p:custDataLst>
              <p:tags r:id="rId4"/>
            </p:custDataLst>
          </p:nvPr>
        </p:nvSpPr>
        <p:spPr>
          <a:xfrm>
            <a:off x="1024290" y="5384973"/>
            <a:ext cx="10738068" cy="1031704"/>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a:t>Text</a:t>
            </a:r>
            <a:endParaRPr lang="en-GB" dirty="0"/>
          </a:p>
        </p:txBody>
      </p:sp>
      <p:sp>
        <p:nvSpPr>
          <p:cNvPr id="9" name="ee4pHeader1">
            <a:extLst>
              <a:ext uri="{FF2B5EF4-FFF2-40B4-BE49-F238E27FC236}">
                <a16:creationId xmlns:a16="http://schemas.microsoft.com/office/drawing/2014/main" id="{FD59E9EB-B67B-E81B-B7B7-322DBD4EB43C}"/>
              </a:ext>
            </a:extLst>
          </p:cNvPr>
          <p:cNvSpPr/>
          <p:nvPr>
            <p:custDataLst>
              <p:tags r:id="rId5"/>
            </p:custDataLst>
          </p:nvPr>
        </p:nvSpPr>
        <p:spPr bwMode="auto">
          <a:xfrm rot="16200000">
            <a:off x="209020" y="2024601"/>
            <a:ext cx="1031704" cy="598833"/>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Bef>
                <a:spcPts val="0"/>
              </a:spcBef>
              <a:spcAft>
                <a:spcPct val="0"/>
              </a:spcAft>
            </a:pPr>
            <a:r>
              <a:rPr lang="en-GB" sz="1600">
                <a:solidFill>
                  <a:schemeClr val="bg1"/>
                </a:solidFill>
                <a:latin typeface="Arial" panose="020B0604020202020204" pitchFamily="34" charset="0"/>
              </a:rPr>
              <a:t>Text</a:t>
            </a:r>
            <a:endParaRPr lang="en-GB" sz="1600" dirty="0">
              <a:solidFill>
                <a:schemeClr val="bg1"/>
              </a:solidFill>
              <a:latin typeface="Arial" panose="020B0604020202020204" pitchFamily="34" charset="0"/>
            </a:endParaRPr>
          </a:p>
        </p:txBody>
      </p:sp>
      <p:sp>
        <p:nvSpPr>
          <p:cNvPr id="10" name="ee4pHeader2">
            <a:extLst>
              <a:ext uri="{FF2B5EF4-FFF2-40B4-BE49-F238E27FC236}">
                <a16:creationId xmlns:a16="http://schemas.microsoft.com/office/drawing/2014/main" id="{0871037E-79A6-92C4-E396-A983B340E5F6}"/>
              </a:ext>
            </a:extLst>
          </p:cNvPr>
          <p:cNvSpPr/>
          <p:nvPr>
            <p:custDataLst>
              <p:tags r:id="rId6"/>
            </p:custDataLst>
          </p:nvPr>
        </p:nvSpPr>
        <p:spPr bwMode="auto">
          <a:xfrm rot="16200000">
            <a:off x="209020" y="3215703"/>
            <a:ext cx="1031704" cy="598833"/>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Bef>
                <a:spcPts val="0"/>
              </a:spcBef>
              <a:spcAft>
                <a:spcPct val="0"/>
              </a:spcAft>
            </a:pPr>
            <a:r>
              <a:rPr lang="en-GB" sz="1600">
                <a:solidFill>
                  <a:schemeClr val="bg1"/>
                </a:solidFill>
                <a:latin typeface="Arial" panose="020B0604020202020204" pitchFamily="34" charset="0"/>
              </a:rPr>
              <a:t>Text</a:t>
            </a:r>
            <a:endParaRPr lang="en-GB" sz="1600" dirty="0">
              <a:solidFill>
                <a:schemeClr val="bg1"/>
              </a:solidFill>
              <a:latin typeface="Arial" panose="020B0604020202020204" pitchFamily="34" charset="0"/>
            </a:endParaRPr>
          </a:p>
        </p:txBody>
      </p:sp>
      <p:sp>
        <p:nvSpPr>
          <p:cNvPr id="11" name="ee4pHeader3">
            <a:extLst>
              <a:ext uri="{FF2B5EF4-FFF2-40B4-BE49-F238E27FC236}">
                <a16:creationId xmlns:a16="http://schemas.microsoft.com/office/drawing/2014/main" id="{9458A199-CCB3-8246-DA3B-729704EB75A3}"/>
              </a:ext>
            </a:extLst>
          </p:cNvPr>
          <p:cNvSpPr/>
          <p:nvPr>
            <p:custDataLst>
              <p:tags r:id="rId7"/>
            </p:custDataLst>
          </p:nvPr>
        </p:nvSpPr>
        <p:spPr bwMode="auto">
          <a:xfrm rot="16200000">
            <a:off x="209020" y="4408554"/>
            <a:ext cx="1031704" cy="598833"/>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Bef>
                <a:spcPts val="0"/>
              </a:spcBef>
              <a:spcAft>
                <a:spcPct val="0"/>
              </a:spcAft>
            </a:pPr>
            <a:r>
              <a:rPr lang="en-GB" sz="1600">
                <a:solidFill>
                  <a:schemeClr val="bg1"/>
                </a:solidFill>
                <a:latin typeface="Arial" panose="020B0604020202020204" pitchFamily="34" charset="0"/>
              </a:rPr>
              <a:t>Text</a:t>
            </a:r>
            <a:endParaRPr lang="en-GB" sz="1600" dirty="0">
              <a:solidFill>
                <a:schemeClr val="bg1"/>
              </a:solidFill>
              <a:latin typeface="Arial" panose="020B0604020202020204" pitchFamily="34" charset="0"/>
            </a:endParaRPr>
          </a:p>
        </p:txBody>
      </p:sp>
      <p:sp>
        <p:nvSpPr>
          <p:cNvPr id="12" name="ee4pHeader4">
            <a:extLst>
              <a:ext uri="{FF2B5EF4-FFF2-40B4-BE49-F238E27FC236}">
                <a16:creationId xmlns:a16="http://schemas.microsoft.com/office/drawing/2014/main" id="{E595B496-EEF2-A6BD-508E-0D7D00DFAFF7}"/>
              </a:ext>
            </a:extLst>
          </p:cNvPr>
          <p:cNvSpPr/>
          <p:nvPr>
            <p:custDataLst>
              <p:tags r:id="rId8"/>
            </p:custDataLst>
          </p:nvPr>
        </p:nvSpPr>
        <p:spPr bwMode="auto">
          <a:xfrm rot="16200000">
            <a:off x="209020" y="5601408"/>
            <a:ext cx="1031704" cy="598833"/>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Bef>
                <a:spcPts val="0"/>
              </a:spcBef>
              <a:spcAft>
                <a:spcPct val="0"/>
              </a:spcAft>
            </a:pPr>
            <a:r>
              <a:rPr lang="en-GB" sz="1600">
                <a:solidFill>
                  <a:schemeClr val="bg1"/>
                </a:solidFill>
                <a:latin typeface="Arial" panose="020B0604020202020204" pitchFamily="34" charset="0"/>
              </a:rPr>
              <a:t>Text</a:t>
            </a:r>
            <a:endParaRPr lang="en-GB" sz="1600" dirty="0">
              <a:solidFill>
                <a:schemeClr val="bg1"/>
              </a:solidFill>
              <a:latin typeface="Arial" panose="020B0604020202020204" pitchFamily="34" charset="0"/>
            </a:endParaRPr>
          </a:p>
        </p:txBody>
      </p:sp>
      <p:sp>
        <p:nvSpPr>
          <p:cNvPr id="14" name="ee4pContent1">
            <a:extLst>
              <a:ext uri="{FF2B5EF4-FFF2-40B4-BE49-F238E27FC236}">
                <a16:creationId xmlns:a16="http://schemas.microsoft.com/office/drawing/2014/main" id="{928F0756-C8A0-B5D7-4204-2981706D5BD7}"/>
              </a:ext>
            </a:extLst>
          </p:cNvPr>
          <p:cNvSpPr txBox="1">
            <a:spLocks/>
          </p:cNvSpPr>
          <p:nvPr>
            <p:custDataLst>
              <p:tags r:id="rId9"/>
            </p:custDataLst>
          </p:nvPr>
        </p:nvSpPr>
        <p:spPr>
          <a:xfrm>
            <a:off x="425455" y="2286546"/>
            <a:ext cx="3653313" cy="41301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dirty="0"/>
              <a:t>Approximate input and output using polynomial basis set</a:t>
            </a:r>
          </a:p>
          <a:p>
            <a:pPr lvl="1">
              <a:spcAft>
                <a:spcPts val="0"/>
              </a:spcAft>
            </a:pPr>
            <a:r>
              <a:rPr lang="en-GB" dirty="0"/>
              <a:t>Discretise trajectory into timesteps</a:t>
            </a:r>
          </a:p>
          <a:p>
            <a:pPr lvl="1">
              <a:spcAft>
                <a:spcPts val="0"/>
              </a:spcAft>
            </a:pPr>
            <a:r>
              <a:rPr lang="en-GB" dirty="0"/>
              <a:t>Define cost function in terms of input and output, and estimate by summing over timesteps</a:t>
            </a:r>
          </a:p>
          <a:p>
            <a:pPr lvl="1">
              <a:spcAft>
                <a:spcPts val="0"/>
              </a:spcAft>
            </a:pPr>
            <a:r>
              <a:rPr lang="en-GB" dirty="0"/>
              <a:t>Minimise cost function by altering polynomial parameters, generating trajectory. </a:t>
            </a:r>
          </a:p>
          <a:p>
            <a:pPr lvl="1">
              <a:spcAft>
                <a:spcPts val="0"/>
              </a:spcAft>
            </a:pPr>
            <a:r>
              <a:rPr lang="en-GB" dirty="0"/>
              <a:t>Randomly generate training data by altering initial conditions</a:t>
            </a:r>
          </a:p>
        </p:txBody>
      </p:sp>
      <mc:AlternateContent xmlns:mc="http://schemas.openxmlformats.org/markup-compatibility/2006" xmlns:a14="http://schemas.microsoft.com/office/drawing/2010/main">
        <mc:Choice Requires="a14">
          <p:sp>
            <p:nvSpPr>
              <p:cNvPr id="15" name="ee4pContent1">
                <a:extLst>
                  <a:ext uri="{FF2B5EF4-FFF2-40B4-BE49-F238E27FC236}">
                    <a16:creationId xmlns:a16="http://schemas.microsoft.com/office/drawing/2014/main" id="{BA12A467-5F52-1014-E2B6-A59251884015}"/>
                  </a:ext>
                </a:extLst>
              </p:cNvPr>
              <p:cNvSpPr txBox="1">
                <a:spLocks/>
              </p:cNvSpPr>
              <p:nvPr>
                <p:custDataLst>
                  <p:tags r:id="rId10"/>
                </p:custDataLst>
              </p:nvPr>
            </p:nvSpPr>
            <p:spPr>
              <a:xfrm>
                <a:off x="4266172" y="2286546"/>
                <a:ext cx="3653313" cy="41301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dirty="0"/>
                  <a:t>Define cost function C(x, u, t) as integral over path, which will be minimised</a:t>
                </a:r>
              </a:p>
              <a:p>
                <a:pPr lvl="1">
                  <a:spcAft>
                    <a:spcPts val="0"/>
                  </a:spcAft>
                </a:pPr>
                <a:r>
                  <a:rPr lang="en-GB" dirty="0"/>
                  <a:t>Cost function is subject to constraint </a:t>
                </a:r>
                <a14:m>
                  <m:oMath xmlns:m="http://schemas.openxmlformats.org/officeDocument/2006/math">
                    <m:acc>
                      <m:accPr>
                        <m:chr m:val="̇"/>
                        <m:ctrlPr>
                          <a:rPr lang="en-GB" i="1" smtClean="0">
                            <a:latin typeface="Cambria Math" panose="02040503050406030204" pitchFamily="18" charset="0"/>
                          </a:rPr>
                        </m:ctrlPr>
                      </m:accPr>
                      <m:e>
                        <m:r>
                          <a:rPr lang="en-GB" b="0" i="1" smtClean="0">
                            <a:latin typeface="Cambria Math" panose="02040503050406030204" pitchFamily="18" charset="0"/>
                          </a:rPr>
                          <m:t>𝑥</m:t>
                        </m:r>
                      </m:e>
                    </m:acc>
                    <m:r>
                      <a:rPr lang="en-GB" b="0" i="1" smtClean="0">
                        <a:latin typeface="Cambria Math" panose="02040503050406030204" pitchFamily="18" charset="0"/>
                      </a:rPr>
                      <m:t>=</m:t>
                    </m:r>
                    <m:r>
                      <a:rPr lang="en-GB" b="0" i="1" smtClean="0">
                        <a:latin typeface="Cambria Math" panose="02040503050406030204" pitchFamily="18" charset="0"/>
                      </a:rPr>
                      <m:t>𝑓</m:t>
                    </m:r>
                    <m:r>
                      <a:rPr lang="en-GB" b="0" i="1" smtClean="0">
                        <a:latin typeface="Cambria Math" panose="02040503050406030204" pitchFamily="18" charset="0"/>
                      </a:rPr>
                      <m:t>(</m:t>
                    </m:r>
                    <m:r>
                      <a:rPr lang="en-GB" b="0" i="1" smtClean="0">
                        <a:latin typeface="Cambria Math" panose="02040503050406030204" pitchFamily="18" charset="0"/>
                      </a:rPr>
                      <m:t>𝑥</m:t>
                    </m:r>
                    <m:r>
                      <a:rPr lang="en-GB" b="0" i="1" smtClean="0">
                        <a:latin typeface="Cambria Math" panose="02040503050406030204" pitchFamily="18" charset="0"/>
                      </a:rPr>
                      <m:t>, </m:t>
                    </m:r>
                    <m:r>
                      <a:rPr lang="en-GB" b="0" i="1" smtClean="0">
                        <a:latin typeface="Cambria Math" panose="02040503050406030204" pitchFamily="18" charset="0"/>
                      </a:rPr>
                      <m:t>𝑢</m:t>
                    </m:r>
                    <m:r>
                      <a:rPr lang="en-GB" b="0" i="1" smtClean="0">
                        <a:latin typeface="Cambria Math" panose="02040503050406030204" pitchFamily="18" charset="0"/>
                      </a:rPr>
                      <m:t>)</m:t>
                    </m:r>
                  </m:oMath>
                </a14:m>
                <a:r>
                  <a:rPr lang="en-GB" dirty="0"/>
                  <a:t>, where </a:t>
                </a:r>
                <a:r>
                  <a:rPr lang="en-GB" i="1" dirty="0"/>
                  <a:t>u</a:t>
                </a:r>
                <a:r>
                  <a:rPr lang="en-GB" dirty="0"/>
                  <a:t> is the input</a:t>
                </a:r>
              </a:p>
              <a:p>
                <a:pPr lvl="1">
                  <a:spcAft>
                    <a:spcPts val="0"/>
                  </a:spcAft>
                </a:pPr>
                <a:r>
                  <a:rPr lang="en-GB" dirty="0"/>
                  <a:t>Solve PDE to find minimum value of C(x, u, t)</a:t>
                </a:r>
              </a:p>
              <a:p>
                <a:pPr lvl="1">
                  <a:spcAft>
                    <a:spcPts val="0"/>
                  </a:spcAft>
                </a:pPr>
                <a:r>
                  <a:rPr lang="en-GB" dirty="0"/>
                  <a:t>To calculate </a:t>
                </a:r>
                <a:r>
                  <a:rPr lang="en-GB" i="1" dirty="0"/>
                  <a:t>u, </a:t>
                </a:r>
                <a:r>
                  <a:rPr lang="en-GB" dirty="0"/>
                  <a:t>the optimal input, minimise C(x, u, t) with respect to u.</a:t>
                </a:r>
              </a:p>
              <a:p>
                <a:pPr lvl="1">
                  <a:spcAft>
                    <a:spcPts val="0"/>
                  </a:spcAft>
                </a:pPr>
                <a:r>
                  <a:rPr lang="en-GB" dirty="0"/>
                  <a:t>Can provide analytic solution, which can be approximated by a neural network</a:t>
                </a:r>
              </a:p>
              <a:p>
                <a:pPr lvl="1">
                  <a:spcAft>
                    <a:spcPts val="0"/>
                  </a:spcAft>
                </a:pPr>
                <a:endParaRPr lang="en-GB" dirty="0"/>
              </a:p>
            </p:txBody>
          </p:sp>
        </mc:Choice>
        <mc:Fallback xmlns="">
          <p:sp>
            <p:nvSpPr>
              <p:cNvPr id="15" name="ee4pContent1">
                <a:extLst>
                  <a:ext uri="{FF2B5EF4-FFF2-40B4-BE49-F238E27FC236}">
                    <a16:creationId xmlns:a16="http://schemas.microsoft.com/office/drawing/2014/main" id="{BA12A467-5F52-1014-E2B6-A59251884015}"/>
                  </a:ext>
                </a:extLst>
              </p:cNvPr>
              <p:cNvSpPr txBox="1">
                <a:spLocks noRot="1" noChangeAspect="1" noMove="1" noResize="1" noEditPoints="1" noAdjustHandles="1" noChangeArrowheads="1" noChangeShapeType="1" noTextEdit="1"/>
              </p:cNvSpPr>
              <p:nvPr>
                <p:custDataLst>
                  <p:tags r:id="rId16"/>
                </p:custDataLst>
              </p:nvPr>
            </p:nvSpPr>
            <p:spPr>
              <a:xfrm>
                <a:off x="4266172" y="2286546"/>
                <a:ext cx="3653313" cy="4130129"/>
              </a:xfrm>
              <a:prstGeom prst="rect">
                <a:avLst/>
              </a:prstGeom>
              <a:blipFill>
                <a:blip r:embed="rId17"/>
                <a:stretch>
                  <a:fillRect l="-499" r="-1830"/>
                </a:stretch>
              </a:blipFill>
              <a:ln w="9525" cmpd="sng">
                <a:solidFill>
                  <a:schemeClr val="accent1">
                    <a:lumMod val="100000"/>
                  </a:schemeClr>
                </a:solidFill>
                <a:prstDash val="solid"/>
              </a:ln>
            </p:spPr>
            <p:txBody>
              <a:bodyPr/>
              <a:lstStyle/>
              <a:p>
                <a:r>
                  <a:rPr lang="en-GB">
                    <a:noFill/>
                  </a:rPr>
                  <a:t> </a:t>
                </a:r>
              </a:p>
            </p:txBody>
          </p:sp>
        </mc:Fallback>
      </mc:AlternateContent>
      <p:sp>
        <p:nvSpPr>
          <p:cNvPr id="16" name="ee4pContent1">
            <a:extLst>
              <a:ext uri="{FF2B5EF4-FFF2-40B4-BE49-F238E27FC236}">
                <a16:creationId xmlns:a16="http://schemas.microsoft.com/office/drawing/2014/main" id="{10E6402E-9DC8-19FB-7DAE-12CB5A9841DC}"/>
              </a:ext>
            </a:extLst>
          </p:cNvPr>
          <p:cNvSpPr txBox="1">
            <a:spLocks/>
          </p:cNvSpPr>
          <p:nvPr>
            <p:custDataLst>
              <p:tags r:id="rId11"/>
            </p:custDataLst>
          </p:nvPr>
        </p:nvSpPr>
        <p:spPr>
          <a:xfrm>
            <a:off x="8106890" y="2286546"/>
            <a:ext cx="3653313" cy="41301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dirty="0"/>
              <a:t>Create custom environment, with allowed ‘states’ and ‘actions’</a:t>
            </a:r>
          </a:p>
          <a:p>
            <a:pPr lvl="1">
              <a:spcAft>
                <a:spcPts val="0"/>
              </a:spcAft>
            </a:pPr>
            <a:r>
              <a:rPr lang="en-GB" dirty="0"/>
              <a:t>Agent, modelled by a neural net, initially randomly selects actions</a:t>
            </a:r>
          </a:p>
          <a:p>
            <a:pPr lvl="1">
              <a:spcAft>
                <a:spcPts val="0"/>
              </a:spcAft>
            </a:pPr>
            <a:r>
              <a:rPr lang="en-GB" dirty="0"/>
              <a:t>Over time, will analyse rewards for each action, and improve selection to reach goal</a:t>
            </a:r>
          </a:p>
          <a:p>
            <a:pPr lvl="1">
              <a:spcAft>
                <a:spcPts val="0"/>
              </a:spcAft>
            </a:pPr>
            <a:r>
              <a:rPr lang="en-GB" dirty="0"/>
              <a:t>Agent can either directly control, or be used to generate training data</a:t>
            </a:r>
          </a:p>
          <a:p>
            <a:pPr lvl="1">
              <a:spcAft>
                <a:spcPts val="0"/>
              </a:spcAft>
            </a:pPr>
            <a:r>
              <a:rPr lang="en-GB" dirty="0"/>
              <a:t>Long training times and difficult to tune, but highly flexible</a:t>
            </a:r>
          </a:p>
          <a:p>
            <a:pPr lvl="1">
              <a:spcAft>
                <a:spcPts val="0"/>
              </a:spcAft>
            </a:pPr>
            <a:endParaRPr lang="en-GB" dirty="0"/>
          </a:p>
        </p:txBody>
      </p:sp>
      <p:sp>
        <p:nvSpPr>
          <p:cNvPr id="17" name="ee4pHeader1">
            <a:extLst>
              <a:ext uri="{FF2B5EF4-FFF2-40B4-BE49-F238E27FC236}">
                <a16:creationId xmlns:a16="http://schemas.microsoft.com/office/drawing/2014/main" id="{AAABAD4B-A276-A153-A0A0-29429C9026E3}"/>
              </a:ext>
            </a:extLst>
          </p:cNvPr>
          <p:cNvSpPr/>
          <p:nvPr>
            <p:custDataLst>
              <p:tags r:id="rId12"/>
            </p:custDataLst>
          </p:nvPr>
        </p:nvSpPr>
        <p:spPr bwMode="auto">
          <a:xfrm>
            <a:off x="425455" y="1808164"/>
            <a:ext cx="3653313" cy="47838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Collocation</a:t>
            </a:r>
          </a:p>
        </p:txBody>
      </p:sp>
      <p:sp>
        <p:nvSpPr>
          <p:cNvPr id="18" name="ee4pHeader1">
            <a:extLst>
              <a:ext uri="{FF2B5EF4-FFF2-40B4-BE49-F238E27FC236}">
                <a16:creationId xmlns:a16="http://schemas.microsoft.com/office/drawing/2014/main" id="{C41569C4-26EC-C261-64CD-D489637588BD}"/>
              </a:ext>
            </a:extLst>
          </p:cNvPr>
          <p:cNvSpPr/>
          <p:nvPr>
            <p:custDataLst>
              <p:tags r:id="rId13"/>
            </p:custDataLst>
          </p:nvPr>
        </p:nvSpPr>
        <p:spPr bwMode="auto">
          <a:xfrm>
            <a:off x="4266172" y="1808164"/>
            <a:ext cx="3653313" cy="47838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Hamilton-Jacobi-Bellman Equation</a:t>
            </a:r>
          </a:p>
        </p:txBody>
      </p:sp>
      <p:sp>
        <p:nvSpPr>
          <p:cNvPr id="19" name="ee4pHeader1">
            <a:extLst>
              <a:ext uri="{FF2B5EF4-FFF2-40B4-BE49-F238E27FC236}">
                <a16:creationId xmlns:a16="http://schemas.microsoft.com/office/drawing/2014/main" id="{918C81DF-B6F4-2798-A7B3-ECED3DBF24FC}"/>
              </a:ext>
            </a:extLst>
          </p:cNvPr>
          <p:cNvSpPr/>
          <p:nvPr>
            <p:custDataLst>
              <p:tags r:id="rId14"/>
            </p:custDataLst>
          </p:nvPr>
        </p:nvSpPr>
        <p:spPr bwMode="auto">
          <a:xfrm>
            <a:off x="8106890" y="1808164"/>
            <a:ext cx="3653313" cy="47838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Reinforcement Learning</a:t>
            </a:r>
          </a:p>
        </p:txBody>
      </p:sp>
    </p:spTree>
    <p:extLst>
      <p:ext uri="{BB962C8B-B14F-4D97-AF65-F5344CB8AC3E}">
        <p14:creationId xmlns:p14="http://schemas.microsoft.com/office/powerpoint/2010/main" val="16726983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32B98024-D8F9-4CA4-FBBF-08476BA74738}"/>
              </a:ext>
            </a:extLst>
          </p:cNvPr>
          <p:cNvSpPr>
            <a:spLocks noGrp="1"/>
          </p:cNvSpPr>
          <p:nvPr>
            <p:ph idx="1"/>
          </p:nvPr>
        </p:nvSpPr>
        <p:spPr/>
        <p:txBody>
          <a:bodyPr/>
          <a:lstStyle/>
          <a:p>
            <a:r>
              <a:rPr lang="en-GB" dirty="0" err="1"/>
              <a:t>tilt_factor</a:t>
            </a:r>
            <a:r>
              <a:rPr lang="en-GB" dirty="0"/>
              <a:t> = 0.7, </a:t>
            </a:r>
            <a:r>
              <a:rPr lang="en-GB" dirty="0" err="1"/>
              <a:t>prob_factor</a:t>
            </a:r>
            <a:r>
              <a:rPr lang="en-GB" dirty="0"/>
              <a:t> = 2.8, </a:t>
            </a:r>
            <a:r>
              <a:rPr lang="en-GB" dirty="0" err="1"/>
              <a:t>lr</a:t>
            </a:r>
            <a:r>
              <a:rPr lang="en-GB" dirty="0"/>
              <a:t> = 0.00383, </a:t>
            </a:r>
            <a:r>
              <a:rPr lang="en-GB" dirty="0" err="1"/>
              <a:t>entropy_coeff</a:t>
            </a:r>
            <a:r>
              <a:rPr lang="en-GB" dirty="0"/>
              <a:t> = 0.4, </a:t>
            </a:r>
            <a:r>
              <a:rPr lang="en-GB" dirty="0" err="1"/>
              <a:t>hidden_dim</a:t>
            </a:r>
            <a:r>
              <a:rPr lang="en-GB" dirty="0"/>
              <a:t> = 128, </a:t>
            </a:r>
            <a:r>
              <a:rPr lang="en-GB" dirty="0" err="1"/>
              <a:t>num_layers</a:t>
            </a:r>
            <a:r>
              <a:rPr lang="en-GB" dirty="0"/>
              <a:t> = 5, gamma = 0.9, </a:t>
            </a:r>
            <a:r>
              <a:rPr lang="en-GB" dirty="0" err="1"/>
              <a:t>batch_size</a:t>
            </a:r>
            <a:r>
              <a:rPr lang="en-GB" dirty="0"/>
              <a:t> = 50, </a:t>
            </a:r>
            <a:r>
              <a:rPr lang="en-GB" dirty="0" err="1"/>
              <a:t>episode_no</a:t>
            </a:r>
            <a:r>
              <a:rPr lang="en-GB" dirty="0"/>
              <a:t> = 500, </a:t>
            </a:r>
            <a:r>
              <a:rPr lang="en-GB" dirty="0" err="1"/>
              <a:t>end_reward</a:t>
            </a:r>
            <a:r>
              <a:rPr lang="en-GB" dirty="0"/>
              <a:t> = 1.5, </a:t>
            </a:r>
            <a:r>
              <a:rPr lang="en-GB" dirty="0" err="1"/>
              <a:t>cuttoff_time</a:t>
            </a:r>
            <a:r>
              <a:rPr lang="en-GB" dirty="0"/>
              <a:t> = 15,</a:t>
            </a:r>
          </a:p>
          <a:p>
            <a:r>
              <a:rPr lang="en-GB" dirty="0"/>
              <a:t>Batch size is 5s (I used timestep of 0.1, so 50), as this was the length of the transfer function I used in the time domain. </a:t>
            </a:r>
          </a:p>
        </p:txBody>
      </p:sp>
      <p:sp>
        <p:nvSpPr>
          <p:cNvPr id="8" name="Title 7">
            <a:extLst>
              <a:ext uri="{FF2B5EF4-FFF2-40B4-BE49-F238E27FC236}">
                <a16:creationId xmlns:a16="http://schemas.microsoft.com/office/drawing/2014/main" id="{F294E75A-EAD3-03ED-8A51-B67E5EF1A187}"/>
              </a:ext>
            </a:extLst>
          </p:cNvPr>
          <p:cNvSpPr>
            <a:spLocks noGrp="1"/>
          </p:cNvSpPr>
          <p:nvPr>
            <p:ph type="title"/>
          </p:nvPr>
        </p:nvSpPr>
        <p:spPr/>
        <p:txBody>
          <a:bodyPr/>
          <a:lstStyle/>
          <a:p>
            <a:r>
              <a:rPr lang="en-GB" dirty="0"/>
              <a:t>Appendix: Parameters for successful tests</a:t>
            </a:r>
          </a:p>
        </p:txBody>
      </p:sp>
      <p:sp>
        <p:nvSpPr>
          <p:cNvPr id="11" name="Text Placeholder 10">
            <a:extLst>
              <a:ext uri="{FF2B5EF4-FFF2-40B4-BE49-F238E27FC236}">
                <a16:creationId xmlns:a16="http://schemas.microsoft.com/office/drawing/2014/main" id="{651C2EB7-2914-5E22-9DEE-9B9B7A184CCC}"/>
              </a:ext>
            </a:extLst>
          </p:cNvPr>
          <p:cNvSpPr>
            <a:spLocks noGrp="1"/>
          </p:cNvSpPr>
          <p:nvPr>
            <p:ph type="body" sz="quarter" idx="17"/>
          </p:nvPr>
        </p:nvSpPr>
        <p:spPr/>
        <p:txBody>
          <a:bodyPr/>
          <a:lstStyle/>
          <a:p>
            <a:endParaRPr lang="en-GB"/>
          </a:p>
        </p:txBody>
      </p:sp>
      <p:sp>
        <p:nvSpPr>
          <p:cNvPr id="10" name="Text Placeholder 9">
            <a:extLst>
              <a:ext uri="{FF2B5EF4-FFF2-40B4-BE49-F238E27FC236}">
                <a16:creationId xmlns:a16="http://schemas.microsoft.com/office/drawing/2014/main" id="{9BE3F301-08DC-D51F-504F-CEF7C81D1A1C}"/>
              </a:ext>
            </a:extLst>
          </p:cNvPr>
          <p:cNvSpPr>
            <a:spLocks noGrp="1"/>
          </p:cNvSpPr>
          <p:nvPr>
            <p:ph type="body" sz="quarter" idx="13"/>
          </p:nvPr>
        </p:nvSpPr>
        <p:spPr/>
        <p:txBody>
          <a:bodyPr/>
          <a:lstStyle/>
          <a:p>
            <a:endParaRPr lang="en-GB"/>
          </a:p>
        </p:txBody>
      </p:sp>
      <p:sp>
        <p:nvSpPr>
          <p:cNvPr id="2" name="Slide Number Placeholder 1">
            <a:extLst>
              <a:ext uri="{FF2B5EF4-FFF2-40B4-BE49-F238E27FC236}">
                <a16:creationId xmlns:a16="http://schemas.microsoft.com/office/drawing/2014/main" id="{24C14FAA-22C3-A39E-2A79-7B1A69B72ECC}"/>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19</a:t>
            </a:fld>
            <a:endParaRPr lang="en-US" dirty="0"/>
          </a:p>
        </p:txBody>
      </p:sp>
    </p:spTree>
    <p:extLst>
      <p:ext uri="{BB962C8B-B14F-4D97-AF65-F5344CB8AC3E}">
        <p14:creationId xmlns:p14="http://schemas.microsoft.com/office/powerpoint/2010/main" val="1015466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hlinkClick r:id="" action="ppaction://noaction"/>
            <a:extLst>
              <a:ext uri="{FF2B5EF4-FFF2-40B4-BE49-F238E27FC236}">
                <a16:creationId xmlns:a16="http://schemas.microsoft.com/office/drawing/2014/main" id="{AD79EA59-12E2-A72B-F40C-24B434A88204}"/>
              </a:ext>
            </a:extLst>
          </p:cNvPr>
          <p:cNvSpPr/>
          <p:nvPr>
            <p:custDataLst>
              <p:tags r:id="rId2"/>
            </p:custDataLst>
          </p:nvPr>
        </p:nvSpPr>
        <p:spPr>
          <a:xfrm>
            <a:off x="889065" y="412621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Next Steps</a:t>
            </a:r>
          </a:p>
        </p:txBody>
      </p:sp>
      <p:sp>
        <p:nvSpPr>
          <p:cNvPr id="40" name="Rectangle 39">
            <a:hlinkClick r:id="" action="ppaction://noaction"/>
            <a:extLst>
              <a:ext uri="{FF2B5EF4-FFF2-40B4-BE49-F238E27FC236}">
                <a16:creationId xmlns:a16="http://schemas.microsoft.com/office/drawing/2014/main" id="{86863F21-82CD-5CB8-5B68-6345B456F21F}"/>
              </a:ext>
            </a:extLst>
          </p:cNvPr>
          <p:cNvSpPr/>
          <p:nvPr>
            <p:custDataLst>
              <p:tags r:id="rId3"/>
            </p:custDataLst>
          </p:nvPr>
        </p:nvSpPr>
        <p:spPr>
          <a:xfrm>
            <a:off x="425455" y="412621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6</a:t>
            </a:r>
          </a:p>
        </p:txBody>
      </p:sp>
      <p:sp>
        <p:nvSpPr>
          <p:cNvPr id="39" name="Rectangle 38">
            <a:hlinkClick r:id="rId18" action="ppaction://hlinksldjump"/>
            <a:extLst>
              <a:ext uri="{FF2B5EF4-FFF2-40B4-BE49-F238E27FC236}">
                <a16:creationId xmlns:a16="http://schemas.microsoft.com/office/drawing/2014/main" id="{80C6F364-799F-6669-4B79-DAD6331352B1}"/>
              </a:ext>
            </a:extLst>
          </p:cNvPr>
          <p:cNvSpPr/>
          <p:nvPr>
            <p:custDataLst>
              <p:tags r:id="rId4"/>
            </p:custDataLst>
          </p:nvPr>
        </p:nvSpPr>
        <p:spPr>
          <a:xfrm>
            <a:off x="889065" y="366260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Reinforcement Learning</a:t>
            </a:r>
          </a:p>
        </p:txBody>
      </p:sp>
      <p:sp>
        <p:nvSpPr>
          <p:cNvPr id="38" name="Rectangle 37">
            <a:hlinkClick r:id="rId18" action="ppaction://hlinksldjump"/>
            <a:extLst>
              <a:ext uri="{FF2B5EF4-FFF2-40B4-BE49-F238E27FC236}">
                <a16:creationId xmlns:a16="http://schemas.microsoft.com/office/drawing/2014/main" id="{BBF99228-5406-8258-06E5-352CBDB9B99E}"/>
              </a:ext>
            </a:extLst>
          </p:cNvPr>
          <p:cNvSpPr/>
          <p:nvPr>
            <p:custDataLst>
              <p:tags r:id="rId5"/>
            </p:custDataLst>
          </p:nvPr>
        </p:nvSpPr>
        <p:spPr>
          <a:xfrm>
            <a:off x="425455" y="366260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5</a:t>
            </a:r>
          </a:p>
        </p:txBody>
      </p:sp>
      <p:sp>
        <p:nvSpPr>
          <p:cNvPr id="37" name="Rectangle 36">
            <a:hlinkClick r:id="" action="ppaction://noaction"/>
            <a:extLst>
              <a:ext uri="{FF2B5EF4-FFF2-40B4-BE49-F238E27FC236}">
                <a16:creationId xmlns:a16="http://schemas.microsoft.com/office/drawing/2014/main" id="{345B5467-C43A-EC7D-3FA7-637AD9ACA5A0}"/>
              </a:ext>
            </a:extLst>
          </p:cNvPr>
          <p:cNvSpPr/>
          <p:nvPr>
            <p:custDataLst>
              <p:tags r:id="rId6"/>
            </p:custDataLst>
          </p:nvPr>
        </p:nvSpPr>
        <p:spPr>
          <a:xfrm>
            <a:off x="889065" y="319899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Collocation Method</a:t>
            </a:r>
          </a:p>
        </p:txBody>
      </p:sp>
      <p:sp>
        <p:nvSpPr>
          <p:cNvPr id="36" name="Rectangle 35">
            <a:hlinkClick r:id="" action="ppaction://noaction"/>
            <a:extLst>
              <a:ext uri="{FF2B5EF4-FFF2-40B4-BE49-F238E27FC236}">
                <a16:creationId xmlns:a16="http://schemas.microsoft.com/office/drawing/2014/main" id="{15BC7766-6E71-0287-3C0E-6FC9F8428070}"/>
              </a:ext>
            </a:extLst>
          </p:cNvPr>
          <p:cNvSpPr/>
          <p:nvPr>
            <p:custDataLst>
              <p:tags r:id="rId7"/>
            </p:custDataLst>
          </p:nvPr>
        </p:nvSpPr>
        <p:spPr>
          <a:xfrm>
            <a:off x="425455" y="319899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4</a:t>
            </a:r>
          </a:p>
        </p:txBody>
      </p:sp>
      <p:sp>
        <p:nvSpPr>
          <p:cNvPr id="35" name="Rectangle 34">
            <a:hlinkClick r:id="rId19" action="ppaction://hlinksldjump"/>
            <a:extLst>
              <a:ext uri="{FF2B5EF4-FFF2-40B4-BE49-F238E27FC236}">
                <a16:creationId xmlns:a16="http://schemas.microsoft.com/office/drawing/2014/main" id="{B740F9FF-8C01-7248-A292-E81B8D16324C}"/>
              </a:ext>
            </a:extLst>
          </p:cNvPr>
          <p:cNvSpPr/>
          <p:nvPr>
            <p:custDataLst>
              <p:tags r:id="rId8"/>
            </p:custDataLst>
          </p:nvPr>
        </p:nvSpPr>
        <p:spPr>
          <a:xfrm>
            <a:off x="889065" y="273538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Hamilton-Jacobi-Bellman Method</a:t>
            </a:r>
          </a:p>
        </p:txBody>
      </p:sp>
      <p:sp>
        <p:nvSpPr>
          <p:cNvPr id="34" name="Rectangle 33">
            <a:hlinkClick r:id="rId19" action="ppaction://hlinksldjump"/>
            <a:extLst>
              <a:ext uri="{FF2B5EF4-FFF2-40B4-BE49-F238E27FC236}">
                <a16:creationId xmlns:a16="http://schemas.microsoft.com/office/drawing/2014/main" id="{0E1CCC3C-3239-CAF9-D2B0-AFABA2374D1F}"/>
              </a:ext>
            </a:extLst>
          </p:cNvPr>
          <p:cNvSpPr/>
          <p:nvPr>
            <p:custDataLst>
              <p:tags r:id="rId9"/>
            </p:custDataLst>
          </p:nvPr>
        </p:nvSpPr>
        <p:spPr>
          <a:xfrm>
            <a:off x="425455" y="273538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3</a:t>
            </a:r>
          </a:p>
        </p:txBody>
      </p:sp>
      <p:sp>
        <p:nvSpPr>
          <p:cNvPr id="33" name="Rectangle 32">
            <a:hlinkClick r:id="" action="ppaction://noaction"/>
            <a:extLst>
              <a:ext uri="{FF2B5EF4-FFF2-40B4-BE49-F238E27FC236}">
                <a16:creationId xmlns:a16="http://schemas.microsoft.com/office/drawing/2014/main" id="{359564B4-9E01-045A-18AE-A2E739EA9212}"/>
              </a:ext>
            </a:extLst>
          </p:cNvPr>
          <p:cNvSpPr/>
          <p:nvPr>
            <p:custDataLst>
              <p:tags r:id="rId10"/>
            </p:custDataLst>
          </p:nvPr>
        </p:nvSpPr>
        <p:spPr>
          <a:xfrm>
            <a:off x="889065" y="227177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Requirements and Existing Model</a:t>
            </a:r>
          </a:p>
        </p:txBody>
      </p:sp>
      <p:sp>
        <p:nvSpPr>
          <p:cNvPr id="32" name="Rectangle 31">
            <a:hlinkClick r:id="" action="ppaction://noaction"/>
            <a:extLst>
              <a:ext uri="{FF2B5EF4-FFF2-40B4-BE49-F238E27FC236}">
                <a16:creationId xmlns:a16="http://schemas.microsoft.com/office/drawing/2014/main" id="{73B37934-E2FB-60D5-F6AA-8E0B8A51787B}"/>
              </a:ext>
            </a:extLst>
          </p:cNvPr>
          <p:cNvSpPr/>
          <p:nvPr>
            <p:custDataLst>
              <p:tags r:id="rId11"/>
            </p:custDataLst>
          </p:nvPr>
        </p:nvSpPr>
        <p:spPr>
          <a:xfrm>
            <a:off x="425455" y="227177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2</a:t>
            </a:r>
          </a:p>
        </p:txBody>
      </p:sp>
      <p:sp>
        <p:nvSpPr>
          <p:cNvPr id="31" name="Rectangle 30">
            <a:extLst>
              <a:ext uri="{FF2B5EF4-FFF2-40B4-BE49-F238E27FC236}">
                <a16:creationId xmlns:a16="http://schemas.microsoft.com/office/drawing/2014/main" id="{7ECAD242-AD02-FCF3-7358-653C7A9D71EA}"/>
              </a:ext>
            </a:extLst>
          </p:cNvPr>
          <p:cNvSpPr/>
          <p:nvPr>
            <p:custDataLst>
              <p:tags r:id="rId12"/>
            </p:custDataLst>
          </p:nvPr>
        </p:nvSpPr>
        <p:spPr>
          <a:xfrm>
            <a:off x="889065" y="1808163"/>
            <a:ext cx="10871139" cy="400109"/>
          </a:xfrm>
          <a:prstGeom prst="rect">
            <a:avLst/>
          </a:prstGeom>
          <a:solidFill>
            <a:srgbClr val="D9D9D9"/>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en-GB" sz="1600"/>
          </a:p>
        </p:txBody>
      </p:sp>
      <p:sp>
        <p:nvSpPr>
          <p:cNvPr id="30" name="Rectangle 29">
            <a:hlinkClick r:id="rId20" action="ppaction://hlinksldjump"/>
            <a:extLst>
              <a:ext uri="{FF2B5EF4-FFF2-40B4-BE49-F238E27FC236}">
                <a16:creationId xmlns:a16="http://schemas.microsoft.com/office/drawing/2014/main" id="{1EBC18FA-C305-91C9-8FA5-7F583736543A}"/>
              </a:ext>
            </a:extLst>
          </p:cNvPr>
          <p:cNvSpPr/>
          <p:nvPr>
            <p:custDataLst>
              <p:tags r:id="rId13"/>
            </p:custDataLst>
          </p:nvPr>
        </p:nvSpPr>
        <p:spPr>
          <a:xfrm>
            <a:off x="889065" y="180816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Background</a:t>
            </a:r>
          </a:p>
        </p:txBody>
      </p:sp>
      <p:sp>
        <p:nvSpPr>
          <p:cNvPr id="29" name="Rectangle 28">
            <a:hlinkClick r:id="rId20" action="ppaction://hlinksldjump"/>
            <a:extLst>
              <a:ext uri="{FF2B5EF4-FFF2-40B4-BE49-F238E27FC236}">
                <a16:creationId xmlns:a16="http://schemas.microsoft.com/office/drawing/2014/main" id="{4EF29E06-3791-EFD3-B2F6-0F127A834201}"/>
              </a:ext>
            </a:extLst>
          </p:cNvPr>
          <p:cNvSpPr/>
          <p:nvPr>
            <p:custDataLst>
              <p:tags r:id="rId14"/>
            </p:custDataLst>
          </p:nvPr>
        </p:nvSpPr>
        <p:spPr>
          <a:xfrm>
            <a:off x="425455" y="180816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1</a:t>
            </a:r>
          </a:p>
        </p:txBody>
      </p:sp>
      <p:sp>
        <p:nvSpPr>
          <p:cNvPr id="24" name="Title 23">
            <a:extLst>
              <a:ext uri="{FF2B5EF4-FFF2-40B4-BE49-F238E27FC236}">
                <a16:creationId xmlns:a16="http://schemas.microsoft.com/office/drawing/2014/main" id="{3106F98D-525E-5A85-9D5F-6E9ED8695CAF}"/>
              </a:ext>
            </a:extLst>
          </p:cNvPr>
          <p:cNvSpPr>
            <a:spLocks noGrp="1"/>
          </p:cNvSpPr>
          <p:nvPr>
            <p:ph type="title"/>
            <p:custDataLst>
              <p:tags r:id="rId15"/>
            </p:custDataLst>
          </p:nvPr>
        </p:nvSpPr>
        <p:spPr/>
        <p:txBody>
          <a:bodyPr/>
          <a:lstStyle/>
          <a:p>
            <a:r>
              <a:rPr lang="en-GB"/>
              <a:t>Agenda</a:t>
            </a:r>
          </a:p>
        </p:txBody>
      </p:sp>
      <p:sp>
        <p:nvSpPr>
          <p:cNvPr id="28" name="Slide Number Placeholder 27">
            <a:extLst>
              <a:ext uri="{FF2B5EF4-FFF2-40B4-BE49-F238E27FC236}">
                <a16:creationId xmlns:a16="http://schemas.microsoft.com/office/drawing/2014/main" id="{85B1E44D-9CFB-3126-CDFF-66DF9E544B5F}"/>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2</a:t>
            </a:fld>
            <a:endParaRPr lang="en-US" dirty="0"/>
          </a:p>
        </p:txBody>
      </p:sp>
    </p:spTree>
    <p:custDataLst>
      <p:tags r:id="rId1"/>
    </p:custDataLst>
    <p:extLst>
      <p:ext uri="{BB962C8B-B14F-4D97-AF65-F5344CB8AC3E}">
        <p14:creationId xmlns:p14="http://schemas.microsoft.com/office/powerpoint/2010/main" val="28797268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294E75A-EAD3-03ED-8A51-B67E5EF1A187}"/>
              </a:ext>
            </a:extLst>
          </p:cNvPr>
          <p:cNvSpPr>
            <a:spLocks noGrp="1"/>
          </p:cNvSpPr>
          <p:nvPr>
            <p:ph type="title"/>
          </p:nvPr>
        </p:nvSpPr>
        <p:spPr/>
        <p:txBody>
          <a:bodyPr/>
          <a:lstStyle/>
          <a:p>
            <a:r>
              <a:rPr lang="en-GB" dirty="0"/>
              <a:t>Appendix: The HJB</a:t>
            </a:r>
          </a:p>
        </p:txBody>
      </p:sp>
      <p:sp>
        <p:nvSpPr>
          <p:cNvPr id="11" name="Text Placeholder 10">
            <a:extLst>
              <a:ext uri="{FF2B5EF4-FFF2-40B4-BE49-F238E27FC236}">
                <a16:creationId xmlns:a16="http://schemas.microsoft.com/office/drawing/2014/main" id="{651C2EB7-2914-5E22-9DEE-9B9B7A184CCC}"/>
              </a:ext>
            </a:extLst>
          </p:cNvPr>
          <p:cNvSpPr>
            <a:spLocks noGrp="1"/>
          </p:cNvSpPr>
          <p:nvPr>
            <p:ph type="body" sz="quarter" idx="17"/>
          </p:nvPr>
        </p:nvSpPr>
        <p:spPr/>
        <p:txBody>
          <a:bodyPr/>
          <a:lstStyle/>
          <a:p>
            <a:endParaRPr lang="en-GB"/>
          </a:p>
        </p:txBody>
      </p:sp>
      <p:sp>
        <p:nvSpPr>
          <p:cNvPr id="10" name="Text Placeholder 9">
            <a:extLst>
              <a:ext uri="{FF2B5EF4-FFF2-40B4-BE49-F238E27FC236}">
                <a16:creationId xmlns:a16="http://schemas.microsoft.com/office/drawing/2014/main" id="{9BE3F301-08DC-D51F-504F-CEF7C81D1A1C}"/>
              </a:ext>
            </a:extLst>
          </p:cNvPr>
          <p:cNvSpPr>
            <a:spLocks noGrp="1"/>
          </p:cNvSpPr>
          <p:nvPr>
            <p:ph type="body" sz="quarter" idx="13"/>
          </p:nvPr>
        </p:nvSpPr>
        <p:spPr>
          <a:xfrm>
            <a:off x="425455" y="1031735"/>
            <a:ext cx="9023348" cy="301504"/>
          </a:xfrm>
        </p:spPr>
        <p:txBody>
          <a:bodyPr/>
          <a:lstStyle/>
          <a:p>
            <a:r>
              <a:rPr lang="en-GB" dirty="0"/>
              <a:t>Note k is the eq. of motion. Solve the PDE for V, then minimise for u, the input. </a:t>
            </a:r>
          </a:p>
        </p:txBody>
      </p:sp>
      <p:sp>
        <p:nvSpPr>
          <p:cNvPr id="2" name="Slide Number Placeholder 1">
            <a:extLst>
              <a:ext uri="{FF2B5EF4-FFF2-40B4-BE49-F238E27FC236}">
                <a16:creationId xmlns:a16="http://schemas.microsoft.com/office/drawing/2014/main" id="{24C14FAA-22C3-A39E-2A79-7B1A69B72ECC}"/>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20</a:t>
            </a:fld>
            <a:endParaRPr lang="en-US" dirty="0"/>
          </a:p>
        </p:txBody>
      </p:sp>
      <mc:AlternateContent xmlns:mc="http://schemas.openxmlformats.org/markup-compatibility/2006" xmlns:p14="http://schemas.microsoft.com/office/powerpoint/2010/main">
        <mc:Choice Requires="p14">
          <p:contentPart p14:bwMode="auto" r:id="rId2">
            <p14:nvContentPartPr>
              <p14:cNvPr id="3" name="Ink 2">
                <a:extLst>
                  <a:ext uri="{FF2B5EF4-FFF2-40B4-BE49-F238E27FC236}">
                    <a16:creationId xmlns:a16="http://schemas.microsoft.com/office/drawing/2014/main" id="{D2402A98-09A6-F79D-2C1E-3C96D8641339}"/>
                  </a:ext>
                </a:extLst>
              </p14:cNvPr>
              <p14:cNvContentPartPr/>
              <p14:nvPr/>
            </p14:nvContentPartPr>
            <p14:xfrm>
              <a:off x="776923" y="2857327"/>
              <a:ext cx="3711575" cy="752475"/>
            </p14:xfrm>
          </p:contentPart>
        </mc:Choice>
        <mc:Fallback xmlns="">
          <p:pic>
            <p:nvPicPr>
              <p:cNvPr id="3" name="Ink 2">
                <a:extLst>
                  <a:ext uri="{FF2B5EF4-FFF2-40B4-BE49-F238E27FC236}">
                    <a16:creationId xmlns:a16="http://schemas.microsoft.com/office/drawing/2014/main" id="{D2402A98-09A6-F79D-2C1E-3C96D8641339}"/>
                  </a:ext>
                </a:extLst>
              </p:cNvPr>
              <p:cNvPicPr/>
              <p:nvPr/>
            </p:nvPicPr>
            <p:blipFill>
              <a:blip r:embed="rId3"/>
              <a:stretch>
                <a:fillRect/>
              </a:stretch>
            </p:blipFill>
            <p:spPr>
              <a:xfrm>
                <a:off x="772602" y="2853002"/>
                <a:ext cx="3720217" cy="761124"/>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6" name="Ink 5">
                <a:extLst>
                  <a:ext uri="{FF2B5EF4-FFF2-40B4-BE49-F238E27FC236}">
                    <a16:creationId xmlns:a16="http://schemas.microsoft.com/office/drawing/2014/main" id="{98C1F1D9-EE27-2F9B-205F-82172725207A}"/>
                  </a:ext>
                </a:extLst>
              </p14:cNvPr>
              <p14:cNvContentPartPr/>
              <p14:nvPr/>
            </p14:nvContentPartPr>
            <p14:xfrm>
              <a:off x="549275" y="1652184"/>
              <a:ext cx="5546725" cy="1092200"/>
            </p14:xfrm>
          </p:contentPart>
        </mc:Choice>
        <mc:Fallback xmlns="">
          <p:pic>
            <p:nvPicPr>
              <p:cNvPr id="6" name="Ink 5">
                <a:extLst>
                  <a:ext uri="{FF2B5EF4-FFF2-40B4-BE49-F238E27FC236}">
                    <a16:creationId xmlns:a16="http://schemas.microsoft.com/office/drawing/2014/main" id="{98C1F1D9-EE27-2F9B-205F-82172725207A}"/>
                  </a:ext>
                </a:extLst>
              </p:cNvPr>
              <p:cNvPicPr/>
              <p:nvPr/>
            </p:nvPicPr>
            <p:blipFill>
              <a:blip r:embed="rId5"/>
              <a:stretch>
                <a:fillRect/>
              </a:stretch>
            </p:blipFill>
            <p:spPr>
              <a:xfrm>
                <a:off x="544955" y="1647864"/>
                <a:ext cx="5555365" cy="1100840"/>
              </a:xfrm>
              <a:prstGeom prst="rect">
                <a:avLst/>
              </a:prstGeom>
            </p:spPr>
          </p:pic>
        </mc:Fallback>
      </mc:AlternateContent>
    </p:spTree>
    <p:extLst>
      <p:ext uri="{BB962C8B-B14F-4D97-AF65-F5344CB8AC3E}">
        <p14:creationId xmlns:p14="http://schemas.microsoft.com/office/powerpoint/2010/main" val="21993653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07300CFA-D073-6DE3-3E5F-C729A80D5DDB}"/>
              </a:ext>
            </a:extLst>
          </p:cNvPr>
          <p:cNvSpPr>
            <a:spLocks noGrp="1"/>
          </p:cNvSpPr>
          <p:nvPr>
            <p:ph type="title"/>
            <p:custDataLst>
              <p:tags r:id="rId2"/>
            </p:custDataLst>
          </p:nvPr>
        </p:nvSpPr>
        <p:spPr/>
        <p:txBody>
          <a:bodyPr/>
          <a:lstStyle/>
          <a:p>
            <a:r>
              <a:rPr lang="en-GB"/>
              <a:t>Backup: New Agenda</a:t>
            </a:r>
          </a:p>
        </p:txBody>
      </p:sp>
      <p:sp>
        <p:nvSpPr>
          <p:cNvPr id="15" name="Slide Number Placeholder 14">
            <a:extLst>
              <a:ext uri="{FF2B5EF4-FFF2-40B4-BE49-F238E27FC236}">
                <a16:creationId xmlns:a16="http://schemas.microsoft.com/office/drawing/2014/main" id="{C159F4F9-B377-6DDA-9D94-D5DE755C34D0}"/>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21</a:t>
            </a:fld>
            <a:endParaRPr lang="en-US" dirty="0"/>
          </a:p>
        </p:txBody>
      </p:sp>
    </p:spTree>
    <p:custDataLst>
      <p:tags r:id="rId1"/>
    </p:custDataLst>
    <p:extLst>
      <p:ext uri="{BB962C8B-B14F-4D97-AF65-F5344CB8AC3E}">
        <p14:creationId xmlns:p14="http://schemas.microsoft.com/office/powerpoint/2010/main" val="11224729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48F99F-6A9F-8E83-732B-F8E1223D9476}"/>
              </a:ext>
            </a:extLst>
          </p:cNvPr>
          <p:cNvSpPr>
            <a:spLocks noGrp="1"/>
          </p:cNvSpPr>
          <p:nvPr>
            <p:ph type="title"/>
          </p:nvPr>
        </p:nvSpPr>
        <p:spPr/>
        <p:txBody>
          <a:bodyPr/>
          <a:lstStyle/>
          <a:p>
            <a:r>
              <a:rPr lang="en-GB" dirty="0"/>
              <a:t>Trajectory Planning: Background</a:t>
            </a:r>
          </a:p>
        </p:txBody>
      </p:sp>
      <p:sp>
        <p:nvSpPr>
          <p:cNvPr id="5" name="Slide Number Placeholder 4">
            <a:extLst>
              <a:ext uri="{FF2B5EF4-FFF2-40B4-BE49-F238E27FC236}">
                <a16:creationId xmlns:a16="http://schemas.microsoft.com/office/drawing/2014/main" id="{A3BD3C6A-10E6-6D32-8839-703F0CD2466D}"/>
              </a:ext>
            </a:extLst>
          </p:cNvPr>
          <p:cNvSpPr>
            <a:spLocks noGrp="1"/>
          </p:cNvSpPr>
          <p:nvPr>
            <p:ph type="sldNum" sz="quarter" idx="12"/>
          </p:nvPr>
        </p:nvSpPr>
        <p:spPr/>
        <p:txBody>
          <a:bodyPr/>
          <a:lstStyle/>
          <a:p>
            <a:pPr algn="r">
              <a:lnSpc>
                <a:spcPct val="110000"/>
              </a:lnSpc>
            </a:pPr>
            <a:fld id="{0150336B-E114-481A-A5C5-087F4C05B58E}" type="slidenum">
              <a:rPr lang="en-US" smtClean="0"/>
              <a:pPr algn="r">
                <a:lnSpc>
                  <a:spcPct val="110000"/>
                </a:lnSpc>
              </a:pPr>
              <a:t>3</a:t>
            </a:fld>
            <a:endParaRPr lang="en-US" dirty="0"/>
          </a:p>
        </p:txBody>
      </p:sp>
      <p:grpSp>
        <p:nvGrpSpPr>
          <p:cNvPr id="12" name="Group 11">
            <a:extLst>
              <a:ext uri="{FF2B5EF4-FFF2-40B4-BE49-F238E27FC236}">
                <a16:creationId xmlns:a16="http://schemas.microsoft.com/office/drawing/2014/main" id="{7AA274CE-A8A6-48D3-56DC-0414F55E82C0}"/>
              </a:ext>
            </a:extLst>
          </p:cNvPr>
          <p:cNvGrpSpPr/>
          <p:nvPr/>
        </p:nvGrpSpPr>
        <p:grpSpPr>
          <a:xfrm>
            <a:off x="6096000" y="1691191"/>
            <a:ext cx="5596034" cy="4608511"/>
            <a:chOff x="3294811" y="1808163"/>
            <a:chExt cx="5596034" cy="4608511"/>
          </a:xfrm>
        </p:grpSpPr>
        <p:sp>
          <p:nvSpPr>
            <p:cNvPr id="2" name="ee4pContent1">
              <a:extLst>
                <a:ext uri="{FF2B5EF4-FFF2-40B4-BE49-F238E27FC236}">
                  <a16:creationId xmlns:a16="http://schemas.microsoft.com/office/drawing/2014/main" id="{D60EFDB7-354B-237F-806F-98A1A33172B4}"/>
                </a:ext>
              </a:extLst>
            </p:cNvPr>
            <p:cNvSpPr txBox="1">
              <a:spLocks/>
            </p:cNvSpPr>
            <p:nvPr>
              <p:custDataLst>
                <p:tags r:id="rId1"/>
              </p:custDataLst>
            </p:nvPr>
          </p:nvSpPr>
          <p:spPr>
            <a:xfrm>
              <a:off x="3294811" y="2286545"/>
              <a:ext cx="5596034" cy="413012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2000" dirty="0"/>
                <a:t>Paths are unordered lists of positions</a:t>
              </a:r>
            </a:p>
            <a:p>
              <a:pPr lvl="1">
                <a:spcAft>
                  <a:spcPts val="0"/>
                </a:spcAft>
              </a:pPr>
              <a:r>
                <a:rPr lang="en-GB" sz="2000" dirty="0"/>
                <a:t>Trajectories are a list of positions, ordered in time</a:t>
              </a:r>
            </a:p>
            <a:p>
              <a:pPr lvl="1">
                <a:spcAft>
                  <a:spcPts val="0"/>
                </a:spcAft>
              </a:pPr>
              <a:r>
                <a:rPr lang="en-GB" sz="2000" dirty="0"/>
                <a:t>Trajectories follow paths</a:t>
              </a:r>
            </a:p>
            <a:p>
              <a:pPr lvl="1">
                <a:spcAft>
                  <a:spcPts val="0"/>
                </a:spcAft>
              </a:pPr>
              <a:r>
                <a:rPr lang="en-GB" sz="2000" b="1" dirty="0"/>
                <a:t>Goal is convert paths to optimal trajectories</a:t>
              </a:r>
            </a:p>
            <a:p>
              <a:pPr lvl="1">
                <a:spcAft>
                  <a:spcPts val="0"/>
                </a:spcAft>
              </a:pPr>
              <a:r>
                <a:rPr lang="en-GB" sz="2000" dirty="0"/>
                <a:t>Improve productivity of laser processes</a:t>
              </a:r>
            </a:p>
          </p:txBody>
        </p:sp>
        <p:sp>
          <p:nvSpPr>
            <p:cNvPr id="4" name="ee4pHeader1">
              <a:extLst>
                <a:ext uri="{FF2B5EF4-FFF2-40B4-BE49-F238E27FC236}">
                  <a16:creationId xmlns:a16="http://schemas.microsoft.com/office/drawing/2014/main" id="{A213C21C-B016-4C21-AF93-0FFA0FB22140}"/>
                </a:ext>
              </a:extLst>
            </p:cNvPr>
            <p:cNvSpPr/>
            <p:nvPr>
              <p:custDataLst>
                <p:tags r:id="rId2"/>
              </p:custDataLst>
            </p:nvPr>
          </p:nvSpPr>
          <p:spPr bwMode="auto">
            <a:xfrm>
              <a:off x="3294811" y="1808163"/>
              <a:ext cx="5596034" cy="47838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What is it?</a:t>
              </a:r>
            </a:p>
          </p:txBody>
        </p:sp>
      </p:grpSp>
      <p:pic>
        <p:nvPicPr>
          <p:cNvPr id="13" name="Picture 12">
            <a:extLst>
              <a:ext uri="{FF2B5EF4-FFF2-40B4-BE49-F238E27FC236}">
                <a16:creationId xmlns:a16="http://schemas.microsoft.com/office/drawing/2014/main" id="{075F31C7-CCA4-772E-BCE7-348988BF0E31}"/>
              </a:ext>
            </a:extLst>
          </p:cNvPr>
          <p:cNvPicPr>
            <a:picLocks noChangeAspect="1"/>
          </p:cNvPicPr>
          <p:nvPr/>
        </p:nvPicPr>
        <p:blipFill>
          <a:blip r:embed="rId5"/>
          <a:stretch>
            <a:fillRect/>
          </a:stretch>
        </p:blipFill>
        <p:spPr>
          <a:xfrm>
            <a:off x="970216" y="1920520"/>
            <a:ext cx="3642284" cy="2834359"/>
          </a:xfrm>
          <a:prstGeom prst="rect">
            <a:avLst/>
          </a:prstGeom>
        </p:spPr>
      </p:pic>
      <p:sp>
        <p:nvSpPr>
          <p:cNvPr id="14" name="TextBox 13">
            <a:extLst>
              <a:ext uri="{FF2B5EF4-FFF2-40B4-BE49-F238E27FC236}">
                <a16:creationId xmlns:a16="http://schemas.microsoft.com/office/drawing/2014/main" id="{D470FD75-1319-25C0-F72A-455FDADA42D8}"/>
              </a:ext>
            </a:extLst>
          </p:cNvPr>
          <p:cNvSpPr txBox="1"/>
          <p:nvPr/>
        </p:nvSpPr>
        <p:spPr>
          <a:xfrm>
            <a:off x="451104" y="4981255"/>
            <a:ext cx="4550002" cy="1099404"/>
          </a:xfrm>
          <a:prstGeom prst="rect">
            <a:avLst/>
          </a:prstGeom>
          <a:noFill/>
        </p:spPr>
        <p:txBody>
          <a:bodyPr wrap="square" lIns="0" tIns="0" rIns="0" bIns="0" rtlCol="0">
            <a:spAutoFit/>
          </a:bodyPr>
          <a:lstStyle/>
          <a:p>
            <a:pPr>
              <a:lnSpc>
                <a:spcPct val="114000"/>
              </a:lnSpc>
            </a:pPr>
            <a:r>
              <a:rPr lang="en-GB" sz="1600" dirty="0">
                <a:latin typeface="+mn-lt"/>
              </a:rPr>
              <a:t>Figure 1: Galvanometer scanner. 2 mirrors are attached to motors. Can deflect laser beams onto an x-y plane – used in industrial processes e.g. cutting, welding.</a:t>
            </a:r>
          </a:p>
        </p:txBody>
      </p:sp>
    </p:spTree>
    <p:extLst>
      <p:ext uri="{BB962C8B-B14F-4D97-AF65-F5344CB8AC3E}">
        <p14:creationId xmlns:p14="http://schemas.microsoft.com/office/powerpoint/2010/main" val="2785108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7E8576-8549-0AF8-776E-306D0220D557}"/>
              </a:ext>
            </a:extLst>
          </p:cNvPr>
          <p:cNvSpPr>
            <a:spLocks noGrp="1"/>
          </p:cNvSpPr>
          <p:nvPr>
            <p:ph type="title"/>
          </p:nvPr>
        </p:nvSpPr>
        <p:spPr/>
        <p:txBody>
          <a:bodyPr/>
          <a:lstStyle/>
          <a:p>
            <a:r>
              <a:rPr lang="en-GB" dirty="0"/>
              <a:t>Trajectory Planning: Background</a:t>
            </a:r>
          </a:p>
        </p:txBody>
      </p:sp>
      <p:sp>
        <p:nvSpPr>
          <p:cNvPr id="5" name="Slide Number Placeholder 4">
            <a:extLst>
              <a:ext uri="{FF2B5EF4-FFF2-40B4-BE49-F238E27FC236}">
                <a16:creationId xmlns:a16="http://schemas.microsoft.com/office/drawing/2014/main" id="{9A1FF58C-5EBE-6736-08F1-F2D9C1E41B6B}"/>
              </a:ext>
            </a:extLst>
          </p:cNvPr>
          <p:cNvSpPr>
            <a:spLocks noGrp="1"/>
          </p:cNvSpPr>
          <p:nvPr>
            <p:ph type="sldNum" sz="quarter" idx="12"/>
          </p:nvPr>
        </p:nvSpPr>
        <p:spPr/>
        <p:txBody>
          <a:bodyPr/>
          <a:lstStyle/>
          <a:p>
            <a:pPr algn="r">
              <a:lnSpc>
                <a:spcPct val="110000"/>
              </a:lnSpc>
            </a:pPr>
            <a:fld id="{0150336B-E114-481A-A5C5-087F4C05B58E}" type="slidenum">
              <a:rPr lang="en-US" smtClean="0"/>
              <a:pPr algn="r">
                <a:lnSpc>
                  <a:spcPct val="110000"/>
                </a:lnSpc>
              </a:pPr>
              <a:t>4</a:t>
            </a:fld>
            <a:endParaRPr lang="en-US" dirty="0"/>
          </a:p>
        </p:txBody>
      </p:sp>
      <p:sp>
        <p:nvSpPr>
          <p:cNvPr id="6" name="AutoShape 3">
            <a:extLst>
              <a:ext uri="{FF2B5EF4-FFF2-40B4-BE49-F238E27FC236}">
                <a16:creationId xmlns:a16="http://schemas.microsoft.com/office/drawing/2014/main" id="{4F6DEFBB-8E51-BB7F-C799-90F813185262}"/>
              </a:ext>
            </a:extLst>
          </p:cNvPr>
          <p:cNvSpPr>
            <a:spLocks noChangeArrowheads="1"/>
          </p:cNvSpPr>
          <p:nvPr>
            <p:custDataLst>
              <p:tags r:id="rId1"/>
            </p:custDataLst>
          </p:nvPr>
        </p:nvSpPr>
        <p:spPr bwMode="gray">
          <a:xfrm>
            <a:off x="425455" y="1808163"/>
            <a:ext cx="3939281" cy="4608513"/>
          </a:xfrm>
          <a:prstGeom prst="homePlate">
            <a:avLst>
              <a:gd name="adj" fmla="val 11861"/>
            </a:avLst>
          </a:prstGeom>
          <a:solidFill>
            <a:srgbClr val="FFFFFF"/>
          </a:solidFill>
          <a:ln w="9525">
            <a:solidFill>
              <a:schemeClr val="accent1">
                <a:lumMod val="100000"/>
              </a:schemeClr>
            </a:solidFill>
            <a:miter lim="800000"/>
            <a:headEnd/>
            <a:tailEnd/>
          </a:ln>
          <a:effectLst/>
        </p:spPr>
        <p:txBody>
          <a:bodyPr lIns="90011" tIns="108014" rIns="360045" bIns="46806"/>
          <a:lstStyle/>
          <a:p>
            <a:pPr marL="0" lvl="1" eaLnBrk="0" hangingPunct="0">
              <a:spcAft>
                <a:spcPct val="0"/>
              </a:spcAft>
            </a:pPr>
            <a:endParaRPr lang="en-GB" dirty="0"/>
          </a:p>
        </p:txBody>
      </p:sp>
      <p:sp>
        <p:nvSpPr>
          <p:cNvPr id="7" name="ee4pContent1">
            <a:extLst>
              <a:ext uri="{FF2B5EF4-FFF2-40B4-BE49-F238E27FC236}">
                <a16:creationId xmlns:a16="http://schemas.microsoft.com/office/drawing/2014/main" id="{9D239482-C630-0739-1CD8-C622EFA89C2A}"/>
              </a:ext>
            </a:extLst>
          </p:cNvPr>
          <p:cNvSpPr txBox="1">
            <a:spLocks/>
          </p:cNvSpPr>
          <p:nvPr>
            <p:custDataLst>
              <p:tags r:id="rId2"/>
            </p:custDataLst>
          </p:nvPr>
        </p:nvSpPr>
        <p:spPr>
          <a:xfrm>
            <a:off x="425455" y="1808163"/>
            <a:ext cx="3732017" cy="4608513"/>
          </a:xfrm>
          <a:prstGeom prst="rect">
            <a:avLst/>
          </a:prstGeom>
          <a:no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spcAft>
                <a:spcPts val="0"/>
              </a:spcAft>
              <a:buNone/>
            </a:pPr>
            <a:r>
              <a:rPr lang="en-GB" sz="1800" b="1" dirty="0"/>
              <a:t>Current Methods</a:t>
            </a:r>
          </a:p>
          <a:p>
            <a:pPr lvl="1">
              <a:spcAft>
                <a:spcPts val="0"/>
              </a:spcAft>
            </a:pPr>
            <a:r>
              <a:rPr lang="en-GB" sz="1800" dirty="0"/>
              <a:t>Normally, trajectories are calculated manually, without guarantees that they are optimal</a:t>
            </a:r>
          </a:p>
          <a:p>
            <a:pPr lvl="1">
              <a:spcAft>
                <a:spcPts val="0"/>
              </a:spcAft>
            </a:pPr>
            <a:r>
              <a:rPr lang="en-GB" sz="1800" dirty="0"/>
              <a:t>These are </a:t>
            </a:r>
            <a:r>
              <a:rPr lang="en-GB" sz="1800" b="1" dirty="0"/>
              <a:t>‘open-loop’ </a:t>
            </a:r>
            <a:r>
              <a:rPr lang="en-GB" sz="1800" dirty="0"/>
              <a:t>trajectories – they cannot react to live information and fix errors</a:t>
            </a:r>
          </a:p>
          <a:p>
            <a:pPr lvl="1">
              <a:spcAft>
                <a:spcPts val="0"/>
              </a:spcAft>
            </a:pPr>
            <a:r>
              <a:rPr lang="en-GB" sz="1800" dirty="0"/>
              <a:t>They are fed through a PID controller, which makes them </a:t>
            </a:r>
            <a:r>
              <a:rPr lang="en-GB" sz="1800" b="1" dirty="0"/>
              <a:t>‘closed-loop</a:t>
            </a:r>
            <a:r>
              <a:rPr lang="en-GB" sz="1800" dirty="0"/>
              <a:t>’, correcting errors</a:t>
            </a:r>
          </a:p>
          <a:p>
            <a:pPr marL="0" lvl="1" indent="0">
              <a:spcAft>
                <a:spcPts val="0"/>
              </a:spcAft>
              <a:buNone/>
            </a:pPr>
            <a:endParaRPr lang="en-GB" sz="1800" dirty="0"/>
          </a:p>
          <a:p>
            <a:pPr lvl="1">
              <a:spcAft>
                <a:spcPts val="0"/>
              </a:spcAft>
            </a:pPr>
            <a:endParaRPr lang="en-GB" sz="1800" dirty="0"/>
          </a:p>
        </p:txBody>
      </p:sp>
      <p:sp>
        <p:nvSpPr>
          <p:cNvPr id="8" name="ee4pContent1">
            <a:extLst>
              <a:ext uri="{FF2B5EF4-FFF2-40B4-BE49-F238E27FC236}">
                <a16:creationId xmlns:a16="http://schemas.microsoft.com/office/drawing/2014/main" id="{D119308B-F430-D26C-9420-381B02FA6127}"/>
              </a:ext>
            </a:extLst>
          </p:cNvPr>
          <p:cNvSpPr txBox="1">
            <a:spLocks/>
          </p:cNvSpPr>
          <p:nvPr>
            <p:custDataLst>
              <p:tags r:id="rId3"/>
            </p:custDataLst>
          </p:nvPr>
        </p:nvSpPr>
        <p:spPr>
          <a:xfrm>
            <a:off x="4364736" y="1808162"/>
            <a:ext cx="3732017" cy="4608513"/>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spcAft>
                <a:spcPts val="0"/>
              </a:spcAft>
              <a:buNone/>
            </a:pPr>
            <a:r>
              <a:rPr lang="en-GB" sz="1800" b="1" dirty="0"/>
              <a:t>Why now?</a:t>
            </a:r>
            <a:endParaRPr lang="en-GB" sz="1800" dirty="0"/>
          </a:p>
          <a:p>
            <a:pPr lvl="1">
              <a:spcAft>
                <a:spcPts val="0"/>
              </a:spcAft>
            </a:pPr>
            <a:r>
              <a:rPr lang="en-GB" sz="1800" dirty="0"/>
              <a:t>Laser sources have been increasing in power and falling in price</a:t>
            </a:r>
          </a:p>
          <a:p>
            <a:pPr lvl="1">
              <a:spcAft>
                <a:spcPts val="0"/>
              </a:spcAft>
            </a:pPr>
            <a:r>
              <a:rPr lang="en-GB" sz="1800" dirty="0"/>
              <a:t>More powerful lasers can speed up production processes</a:t>
            </a:r>
          </a:p>
          <a:p>
            <a:pPr lvl="1">
              <a:spcAft>
                <a:spcPts val="0"/>
              </a:spcAft>
            </a:pPr>
            <a:r>
              <a:rPr lang="en-GB" sz="1800" dirty="0"/>
              <a:t> Limitation is no longer laser power to shape material, but finding best trajectory for laser</a:t>
            </a:r>
          </a:p>
          <a:p>
            <a:pPr lvl="1">
              <a:spcAft>
                <a:spcPts val="0"/>
              </a:spcAft>
            </a:pPr>
            <a:r>
              <a:rPr lang="en-GB" sz="1800" b="1" dirty="0"/>
              <a:t>Project goal is least time optimality </a:t>
            </a:r>
          </a:p>
        </p:txBody>
      </p:sp>
      <p:grpSp>
        <p:nvGrpSpPr>
          <p:cNvPr id="59" name="Gruppieren 65">
            <a:extLst>
              <a:ext uri="{FF2B5EF4-FFF2-40B4-BE49-F238E27FC236}">
                <a16:creationId xmlns:a16="http://schemas.microsoft.com/office/drawing/2014/main" id="{7609684D-470C-BBDD-F78F-6305494E9932}"/>
              </a:ext>
            </a:extLst>
          </p:cNvPr>
          <p:cNvGrpSpPr/>
          <p:nvPr/>
        </p:nvGrpSpPr>
        <p:grpSpPr>
          <a:xfrm>
            <a:off x="8304016" y="1808162"/>
            <a:ext cx="3644143" cy="2117662"/>
            <a:chOff x="1485900" y="2064403"/>
            <a:chExt cx="1185091" cy="926831"/>
          </a:xfrm>
        </p:grpSpPr>
        <p:sp>
          <p:nvSpPr>
            <p:cNvPr id="60" name="Rechteck 21">
              <a:extLst>
                <a:ext uri="{FF2B5EF4-FFF2-40B4-BE49-F238E27FC236}">
                  <a16:creationId xmlns:a16="http://schemas.microsoft.com/office/drawing/2014/main" id="{9C824D8A-8A31-15C8-3E96-F4A91A771F20}"/>
                </a:ext>
              </a:extLst>
            </p:cNvPr>
            <p:cNvSpPr/>
            <p:nvPr/>
          </p:nvSpPr>
          <p:spPr>
            <a:xfrm>
              <a:off x="1485900" y="2064403"/>
              <a:ext cx="1185091" cy="926831"/>
            </a:xfrm>
            <a:prstGeom prst="rect">
              <a:avLst/>
            </a:prstGeom>
            <a:noFill/>
            <a:ln>
              <a:solidFill>
                <a:schemeClr val="accent1"/>
              </a:solidFill>
              <a:prstDash val="dash"/>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3000"/>
                </a:lnSpc>
              </a:pPr>
              <a:endParaRPr lang="de-DE" sz="1400" dirty="0" err="1"/>
            </a:p>
          </p:txBody>
        </p:sp>
        <p:sp>
          <p:nvSpPr>
            <p:cNvPr id="61" name="Freihandform 19">
              <a:extLst>
                <a:ext uri="{FF2B5EF4-FFF2-40B4-BE49-F238E27FC236}">
                  <a16:creationId xmlns:a16="http://schemas.microsoft.com/office/drawing/2014/main" id="{402EEFD6-6FD9-0E9C-24E6-1DCCB1D2057F}"/>
                </a:ext>
              </a:extLst>
            </p:cNvPr>
            <p:cNvSpPr/>
            <p:nvPr/>
          </p:nvSpPr>
          <p:spPr>
            <a:xfrm rot="1466384">
              <a:off x="1610258" y="2379869"/>
              <a:ext cx="704216" cy="484187"/>
            </a:xfrm>
            <a:custGeom>
              <a:avLst/>
              <a:gdLst>
                <a:gd name="connsiteX0" fmla="*/ 737100 w 1875977"/>
                <a:gd name="connsiteY0" fmla="*/ 1734128 h 1734128"/>
                <a:gd name="connsiteX1" fmla="*/ 37853 w 1875977"/>
                <a:gd name="connsiteY1" fmla="*/ 12904 h 1734128"/>
                <a:gd name="connsiteX2" fmla="*/ 1759077 w 1875977"/>
                <a:gd name="connsiteY2" fmla="*/ 905789 h 1734128"/>
                <a:gd name="connsiteX3" fmla="*/ 1726804 w 1875977"/>
                <a:gd name="connsiteY3" fmla="*/ 109723 h 1734128"/>
              </a:gdLst>
              <a:ahLst/>
              <a:cxnLst>
                <a:cxn ang="0">
                  <a:pos x="connsiteX0" y="connsiteY0"/>
                </a:cxn>
                <a:cxn ang="0">
                  <a:pos x="connsiteX1" y="connsiteY1"/>
                </a:cxn>
                <a:cxn ang="0">
                  <a:pos x="connsiteX2" y="connsiteY2"/>
                </a:cxn>
                <a:cxn ang="0">
                  <a:pos x="connsiteX3" y="connsiteY3"/>
                </a:cxn>
              </a:cxnLst>
              <a:rect l="l" t="t" r="r" b="b"/>
              <a:pathLst>
                <a:path w="1875977" h="1734128">
                  <a:moveTo>
                    <a:pt x="737100" y="1734128"/>
                  </a:moveTo>
                  <a:cubicBezTo>
                    <a:pt x="302312" y="942544"/>
                    <a:pt x="-132476" y="150960"/>
                    <a:pt x="37853" y="12904"/>
                  </a:cubicBezTo>
                  <a:cubicBezTo>
                    <a:pt x="208182" y="-125152"/>
                    <a:pt x="1477585" y="889653"/>
                    <a:pt x="1759077" y="905789"/>
                  </a:cubicBezTo>
                  <a:cubicBezTo>
                    <a:pt x="2040569" y="921925"/>
                    <a:pt x="1725011" y="237022"/>
                    <a:pt x="1726804" y="109723"/>
                  </a:cubicBezTo>
                </a:path>
              </a:pathLst>
            </a:custGeom>
            <a:noFill/>
            <a:ln w="9525">
              <a:solidFill>
                <a:schemeClr val="tx1"/>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de-DE"/>
            </a:p>
          </p:txBody>
        </p:sp>
        <p:cxnSp>
          <p:nvCxnSpPr>
            <p:cNvPr id="62" name="Gerade Verbindung mit Pfeil 23">
              <a:extLst>
                <a:ext uri="{FF2B5EF4-FFF2-40B4-BE49-F238E27FC236}">
                  <a16:creationId xmlns:a16="http://schemas.microsoft.com/office/drawing/2014/main" id="{A6AB8B01-A580-0876-1393-6E0AEE0F8FC6}"/>
                </a:ext>
              </a:extLst>
            </p:cNvPr>
            <p:cNvCxnSpPr>
              <a:stCxn id="80" idx="0"/>
            </p:cNvCxnSpPr>
            <p:nvPr/>
          </p:nvCxnSpPr>
          <p:spPr>
            <a:xfrm flipH="1" flipV="1">
              <a:off x="1706613" y="2524963"/>
              <a:ext cx="57455" cy="293296"/>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63" name="Gerade Verbindung mit Pfeil 24">
              <a:extLst>
                <a:ext uri="{FF2B5EF4-FFF2-40B4-BE49-F238E27FC236}">
                  <a16:creationId xmlns:a16="http://schemas.microsoft.com/office/drawing/2014/main" id="{FC7531F8-05AB-DE66-2591-9C9FDE1E2A3F}"/>
                </a:ext>
              </a:extLst>
            </p:cNvPr>
            <p:cNvCxnSpPr/>
            <p:nvPr/>
          </p:nvCxnSpPr>
          <p:spPr>
            <a:xfrm flipV="1">
              <a:off x="1706613" y="2302656"/>
              <a:ext cx="20302" cy="222307"/>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64" name="Gerade Verbindung mit Pfeil 25">
              <a:extLst>
                <a:ext uri="{FF2B5EF4-FFF2-40B4-BE49-F238E27FC236}">
                  <a16:creationId xmlns:a16="http://schemas.microsoft.com/office/drawing/2014/main" id="{986DB6C6-DEF8-DAC7-0B2C-F9B23803D366}"/>
                </a:ext>
              </a:extLst>
            </p:cNvPr>
            <p:cNvCxnSpPr/>
            <p:nvPr/>
          </p:nvCxnSpPr>
          <p:spPr>
            <a:xfrm flipV="1">
              <a:off x="1726914" y="2208930"/>
              <a:ext cx="23448" cy="102160"/>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65" name="Gerade Verbindung mit Pfeil 26">
              <a:extLst>
                <a:ext uri="{FF2B5EF4-FFF2-40B4-BE49-F238E27FC236}">
                  <a16:creationId xmlns:a16="http://schemas.microsoft.com/office/drawing/2014/main" id="{166D035D-C2A0-DA0F-30A4-7AA07B0A52C7}"/>
                </a:ext>
              </a:extLst>
            </p:cNvPr>
            <p:cNvCxnSpPr/>
            <p:nvPr/>
          </p:nvCxnSpPr>
          <p:spPr>
            <a:xfrm flipH="1" flipV="1">
              <a:off x="1738638" y="2135202"/>
              <a:ext cx="10317" cy="76765"/>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66" name="Gerade Verbindung mit Pfeil 27">
              <a:extLst>
                <a:ext uri="{FF2B5EF4-FFF2-40B4-BE49-F238E27FC236}">
                  <a16:creationId xmlns:a16="http://schemas.microsoft.com/office/drawing/2014/main" id="{AE071FE0-6B77-9D1C-8998-30BD7FA4BC48}"/>
                </a:ext>
              </a:extLst>
            </p:cNvPr>
            <p:cNvCxnSpPr/>
            <p:nvPr/>
          </p:nvCxnSpPr>
          <p:spPr>
            <a:xfrm flipH="1" flipV="1">
              <a:off x="1663696" y="2093539"/>
              <a:ext cx="73536" cy="41663"/>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67" name="Gerade Verbindung mit Pfeil 28">
              <a:extLst>
                <a:ext uri="{FF2B5EF4-FFF2-40B4-BE49-F238E27FC236}">
                  <a16:creationId xmlns:a16="http://schemas.microsoft.com/office/drawing/2014/main" id="{71C78299-D285-659D-534D-C15878DBAECE}"/>
                </a:ext>
              </a:extLst>
            </p:cNvPr>
            <p:cNvCxnSpPr/>
            <p:nvPr/>
          </p:nvCxnSpPr>
          <p:spPr>
            <a:xfrm flipH="1">
              <a:off x="1590181" y="2093539"/>
              <a:ext cx="73514" cy="23327"/>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68" name="Gerade Verbindung mit Pfeil 29">
              <a:extLst>
                <a:ext uri="{FF2B5EF4-FFF2-40B4-BE49-F238E27FC236}">
                  <a16:creationId xmlns:a16="http://schemas.microsoft.com/office/drawing/2014/main" id="{33D9D9C1-A536-D868-06BB-C8B3CE0D900E}"/>
                </a:ext>
              </a:extLst>
            </p:cNvPr>
            <p:cNvCxnSpPr/>
            <p:nvPr/>
          </p:nvCxnSpPr>
          <p:spPr>
            <a:xfrm flipH="1">
              <a:off x="1570187" y="2114370"/>
              <a:ext cx="19994" cy="60555"/>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69" name="Gerade Verbindung mit Pfeil 30">
              <a:extLst>
                <a:ext uri="{FF2B5EF4-FFF2-40B4-BE49-F238E27FC236}">
                  <a16:creationId xmlns:a16="http://schemas.microsoft.com/office/drawing/2014/main" id="{A7EF2AF8-1737-9171-C2F8-D9DE5E18BE70}"/>
                </a:ext>
              </a:extLst>
            </p:cNvPr>
            <p:cNvCxnSpPr/>
            <p:nvPr/>
          </p:nvCxnSpPr>
          <p:spPr>
            <a:xfrm>
              <a:off x="1576316" y="2177667"/>
              <a:ext cx="62838" cy="50542"/>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70" name="Gerade Verbindung mit Pfeil 31">
              <a:extLst>
                <a:ext uri="{FF2B5EF4-FFF2-40B4-BE49-F238E27FC236}">
                  <a16:creationId xmlns:a16="http://schemas.microsoft.com/office/drawing/2014/main" id="{4E3FA6DA-B7B4-77D5-0F37-67D4784E33AF}"/>
                </a:ext>
              </a:extLst>
            </p:cNvPr>
            <p:cNvCxnSpPr/>
            <p:nvPr/>
          </p:nvCxnSpPr>
          <p:spPr>
            <a:xfrm>
              <a:off x="1645282" y="2230950"/>
              <a:ext cx="81632" cy="21681"/>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71" name="Gerade Verbindung mit Pfeil 32">
              <a:extLst>
                <a:ext uri="{FF2B5EF4-FFF2-40B4-BE49-F238E27FC236}">
                  <a16:creationId xmlns:a16="http://schemas.microsoft.com/office/drawing/2014/main" id="{D0F19AFC-2050-6605-E570-07C529FFAF59}"/>
                </a:ext>
              </a:extLst>
            </p:cNvPr>
            <p:cNvCxnSpPr/>
            <p:nvPr/>
          </p:nvCxnSpPr>
          <p:spPr>
            <a:xfrm>
              <a:off x="1721627" y="2249286"/>
              <a:ext cx="136623" cy="60774"/>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72" name="Gerade Verbindung mit Pfeil 33">
              <a:extLst>
                <a:ext uri="{FF2B5EF4-FFF2-40B4-BE49-F238E27FC236}">
                  <a16:creationId xmlns:a16="http://schemas.microsoft.com/office/drawing/2014/main" id="{E4B68DFD-B718-643D-6A7E-461BD6CC8F1C}"/>
                </a:ext>
              </a:extLst>
            </p:cNvPr>
            <p:cNvCxnSpPr/>
            <p:nvPr/>
          </p:nvCxnSpPr>
          <p:spPr>
            <a:xfrm>
              <a:off x="1856622" y="2311817"/>
              <a:ext cx="198729" cy="163112"/>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73" name="Gerade Verbindung mit Pfeil 34">
              <a:extLst>
                <a:ext uri="{FF2B5EF4-FFF2-40B4-BE49-F238E27FC236}">
                  <a16:creationId xmlns:a16="http://schemas.microsoft.com/office/drawing/2014/main" id="{566AF3D5-ADDB-54F5-BB4C-F1A87C8EE3C0}"/>
                </a:ext>
              </a:extLst>
            </p:cNvPr>
            <p:cNvCxnSpPr/>
            <p:nvPr/>
          </p:nvCxnSpPr>
          <p:spPr>
            <a:xfrm>
              <a:off x="2052480" y="2469707"/>
              <a:ext cx="157899" cy="201904"/>
            </a:xfrm>
            <a:prstGeom prst="straightConnector1">
              <a:avLst/>
            </a:prstGeom>
            <a:ln>
              <a:tailEnd type="stealth"/>
            </a:ln>
          </p:spPr>
          <p:style>
            <a:lnRef idx="1">
              <a:schemeClr val="accent1"/>
            </a:lnRef>
            <a:fillRef idx="0">
              <a:schemeClr val="accent1"/>
            </a:fillRef>
            <a:effectRef idx="0">
              <a:schemeClr val="accent1"/>
            </a:effectRef>
            <a:fontRef idx="minor">
              <a:schemeClr val="tx1"/>
            </a:fontRef>
          </p:style>
        </p:cxnSp>
        <p:cxnSp>
          <p:nvCxnSpPr>
            <p:cNvPr id="74" name="Gerade Verbindung mit Pfeil 35">
              <a:extLst>
                <a:ext uri="{FF2B5EF4-FFF2-40B4-BE49-F238E27FC236}">
                  <a16:creationId xmlns:a16="http://schemas.microsoft.com/office/drawing/2014/main" id="{1F6ACB8C-0EE2-9EE6-D506-F419D58F1C3A}"/>
                </a:ext>
              </a:extLst>
            </p:cNvPr>
            <p:cNvCxnSpPr>
              <a:stCxn id="80" idx="0"/>
            </p:cNvCxnSpPr>
            <p:nvPr/>
          </p:nvCxnSpPr>
          <p:spPr>
            <a:xfrm flipH="1" flipV="1">
              <a:off x="1739147" y="2643078"/>
              <a:ext cx="24921" cy="175181"/>
            </a:xfrm>
            <a:prstGeom prst="straightConnector1">
              <a:avLst/>
            </a:prstGeom>
            <a:ln>
              <a:solidFill>
                <a:srgbClr val="00B050"/>
              </a:solidFill>
              <a:tailEnd type="stealth"/>
            </a:ln>
          </p:spPr>
          <p:style>
            <a:lnRef idx="1">
              <a:schemeClr val="accent1"/>
            </a:lnRef>
            <a:fillRef idx="0">
              <a:schemeClr val="accent1"/>
            </a:fillRef>
            <a:effectRef idx="0">
              <a:schemeClr val="accent1"/>
            </a:effectRef>
            <a:fontRef idx="minor">
              <a:schemeClr val="tx1"/>
            </a:fontRef>
          </p:style>
        </p:cxnSp>
        <p:cxnSp>
          <p:nvCxnSpPr>
            <p:cNvPr id="75" name="Gerade Verbindung mit Pfeil 36">
              <a:extLst>
                <a:ext uri="{FF2B5EF4-FFF2-40B4-BE49-F238E27FC236}">
                  <a16:creationId xmlns:a16="http://schemas.microsoft.com/office/drawing/2014/main" id="{002155D8-2B0F-4828-2706-6E48D6192A8C}"/>
                </a:ext>
              </a:extLst>
            </p:cNvPr>
            <p:cNvCxnSpPr/>
            <p:nvPr/>
          </p:nvCxnSpPr>
          <p:spPr>
            <a:xfrm flipH="1" flipV="1">
              <a:off x="1729678" y="2485259"/>
              <a:ext cx="13082" cy="163728"/>
            </a:xfrm>
            <a:prstGeom prst="straightConnector1">
              <a:avLst/>
            </a:prstGeom>
            <a:ln>
              <a:solidFill>
                <a:srgbClr val="00B050"/>
              </a:solidFill>
              <a:tailEnd type="stealth"/>
            </a:ln>
          </p:spPr>
          <p:style>
            <a:lnRef idx="1">
              <a:schemeClr val="accent1"/>
            </a:lnRef>
            <a:fillRef idx="0">
              <a:schemeClr val="accent1"/>
            </a:fillRef>
            <a:effectRef idx="0">
              <a:schemeClr val="accent1"/>
            </a:effectRef>
            <a:fontRef idx="minor">
              <a:schemeClr val="tx1"/>
            </a:fontRef>
          </p:style>
        </p:cxnSp>
        <p:cxnSp>
          <p:nvCxnSpPr>
            <p:cNvPr id="76" name="Gerade Verbindung mit Pfeil 37">
              <a:extLst>
                <a:ext uri="{FF2B5EF4-FFF2-40B4-BE49-F238E27FC236}">
                  <a16:creationId xmlns:a16="http://schemas.microsoft.com/office/drawing/2014/main" id="{84F57EAD-C643-B46F-BE11-0F599462F915}"/>
                </a:ext>
              </a:extLst>
            </p:cNvPr>
            <p:cNvCxnSpPr/>
            <p:nvPr/>
          </p:nvCxnSpPr>
          <p:spPr>
            <a:xfrm flipV="1">
              <a:off x="1730060" y="2371906"/>
              <a:ext cx="9087" cy="116679"/>
            </a:xfrm>
            <a:prstGeom prst="straightConnector1">
              <a:avLst/>
            </a:prstGeom>
            <a:ln>
              <a:solidFill>
                <a:srgbClr val="00B050"/>
              </a:solidFill>
              <a:tailEnd type="stealth"/>
            </a:ln>
          </p:spPr>
          <p:style>
            <a:lnRef idx="1">
              <a:schemeClr val="accent1"/>
            </a:lnRef>
            <a:fillRef idx="0">
              <a:schemeClr val="accent1"/>
            </a:fillRef>
            <a:effectRef idx="0">
              <a:schemeClr val="accent1"/>
            </a:effectRef>
            <a:fontRef idx="minor">
              <a:schemeClr val="tx1"/>
            </a:fontRef>
          </p:style>
        </p:cxnSp>
        <p:cxnSp>
          <p:nvCxnSpPr>
            <p:cNvPr id="77" name="Gerade Verbindung mit Pfeil 38">
              <a:extLst>
                <a:ext uri="{FF2B5EF4-FFF2-40B4-BE49-F238E27FC236}">
                  <a16:creationId xmlns:a16="http://schemas.microsoft.com/office/drawing/2014/main" id="{F6182C0F-0F86-F092-C289-2FF31934B3A8}"/>
                </a:ext>
              </a:extLst>
            </p:cNvPr>
            <p:cNvCxnSpPr/>
            <p:nvPr/>
          </p:nvCxnSpPr>
          <p:spPr>
            <a:xfrm flipV="1">
              <a:off x="1739147" y="2309980"/>
              <a:ext cx="23688" cy="61926"/>
            </a:xfrm>
            <a:prstGeom prst="straightConnector1">
              <a:avLst/>
            </a:prstGeom>
            <a:ln>
              <a:solidFill>
                <a:srgbClr val="00B050"/>
              </a:solidFill>
              <a:tailEnd type="stealth"/>
            </a:ln>
          </p:spPr>
          <p:style>
            <a:lnRef idx="1">
              <a:schemeClr val="accent1"/>
            </a:lnRef>
            <a:fillRef idx="0">
              <a:schemeClr val="accent1"/>
            </a:fillRef>
            <a:effectRef idx="0">
              <a:schemeClr val="accent1"/>
            </a:effectRef>
            <a:fontRef idx="minor">
              <a:schemeClr val="tx1"/>
            </a:fontRef>
          </p:style>
        </p:cxnSp>
        <p:cxnSp>
          <p:nvCxnSpPr>
            <p:cNvPr id="78" name="Gerade Verbindung mit Pfeil 39">
              <a:extLst>
                <a:ext uri="{FF2B5EF4-FFF2-40B4-BE49-F238E27FC236}">
                  <a16:creationId xmlns:a16="http://schemas.microsoft.com/office/drawing/2014/main" id="{1A4E7FEE-FB4C-2036-7FC9-9F3344288076}"/>
                </a:ext>
              </a:extLst>
            </p:cNvPr>
            <p:cNvCxnSpPr/>
            <p:nvPr/>
          </p:nvCxnSpPr>
          <p:spPr>
            <a:xfrm flipV="1">
              <a:off x="1761398" y="2304430"/>
              <a:ext cx="58909" cy="11100"/>
            </a:xfrm>
            <a:prstGeom prst="straightConnector1">
              <a:avLst/>
            </a:prstGeom>
            <a:ln>
              <a:solidFill>
                <a:srgbClr val="00B050"/>
              </a:solidFill>
              <a:tailEnd type="stealth"/>
            </a:ln>
          </p:spPr>
          <p:style>
            <a:lnRef idx="1">
              <a:schemeClr val="accent1"/>
            </a:lnRef>
            <a:fillRef idx="0">
              <a:schemeClr val="accent1"/>
            </a:fillRef>
            <a:effectRef idx="0">
              <a:schemeClr val="accent1"/>
            </a:effectRef>
            <a:fontRef idx="minor">
              <a:schemeClr val="tx1"/>
            </a:fontRef>
          </p:style>
        </p:cxnSp>
        <p:cxnSp>
          <p:nvCxnSpPr>
            <p:cNvPr id="79" name="Gerade Verbindung mit Pfeil 40">
              <a:extLst>
                <a:ext uri="{FF2B5EF4-FFF2-40B4-BE49-F238E27FC236}">
                  <a16:creationId xmlns:a16="http://schemas.microsoft.com/office/drawing/2014/main" id="{A4DA3ECE-58D4-FF0B-4FAD-71A26599D519}"/>
                </a:ext>
              </a:extLst>
            </p:cNvPr>
            <p:cNvCxnSpPr/>
            <p:nvPr/>
          </p:nvCxnSpPr>
          <p:spPr>
            <a:xfrm>
              <a:off x="1826054" y="2307760"/>
              <a:ext cx="63219" cy="49954"/>
            </a:xfrm>
            <a:prstGeom prst="straightConnector1">
              <a:avLst/>
            </a:prstGeom>
            <a:ln>
              <a:solidFill>
                <a:srgbClr val="00B050"/>
              </a:solidFill>
              <a:tailEnd type="stealth"/>
            </a:ln>
          </p:spPr>
          <p:style>
            <a:lnRef idx="1">
              <a:schemeClr val="accent1"/>
            </a:lnRef>
            <a:fillRef idx="0">
              <a:schemeClr val="accent1"/>
            </a:fillRef>
            <a:effectRef idx="0">
              <a:schemeClr val="accent1"/>
            </a:effectRef>
            <a:fontRef idx="minor">
              <a:schemeClr val="tx1"/>
            </a:fontRef>
          </p:style>
        </p:cxnSp>
        <p:cxnSp>
          <p:nvCxnSpPr>
            <p:cNvPr id="80" name="Gerade Verbindung mit Pfeil 41">
              <a:extLst>
                <a:ext uri="{FF2B5EF4-FFF2-40B4-BE49-F238E27FC236}">
                  <a16:creationId xmlns:a16="http://schemas.microsoft.com/office/drawing/2014/main" id="{6C31510C-9951-099B-A76B-F1D38F1FC2CB}"/>
                </a:ext>
              </a:extLst>
            </p:cNvPr>
            <p:cNvCxnSpPr/>
            <p:nvPr/>
          </p:nvCxnSpPr>
          <p:spPr>
            <a:xfrm>
              <a:off x="1895020" y="2361043"/>
              <a:ext cx="72430" cy="77583"/>
            </a:xfrm>
            <a:prstGeom prst="straightConnector1">
              <a:avLst/>
            </a:prstGeom>
            <a:ln>
              <a:solidFill>
                <a:srgbClr val="00B050"/>
              </a:solidFill>
              <a:tailEnd type="stealth"/>
            </a:ln>
          </p:spPr>
          <p:style>
            <a:lnRef idx="1">
              <a:schemeClr val="accent1"/>
            </a:lnRef>
            <a:fillRef idx="0">
              <a:schemeClr val="accent1"/>
            </a:fillRef>
            <a:effectRef idx="0">
              <a:schemeClr val="accent1"/>
            </a:effectRef>
            <a:fontRef idx="minor">
              <a:schemeClr val="tx1"/>
            </a:fontRef>
          </p:style>
        </p:cxnSp>
        <p:cxnSp>
          <p:nvCxnSpPr>
            <p:cNvPr id="81" name="Gerade Verbindung mit Pfeil 42">
              <a:extLst>
                <a:ext uri="{FF2B5EF4-FFF2-40B4-BE49-F238E27FC236}">
                  <a16:creationId xmlns:a16="http://schemas.microsoft.com/office/drawing/2014/main" id="{E8DDD45E-440E-2EEC-0C29-09EF250CF5FE}"/>
                </a:ext>
              </a:extLst>
            </p:cNvPr>
            <p:cNvCxnSpPr/>
            <p:nvPr/>
          </p:nvCxnSpPr>
          <p:spPr>
            <a:xfrm>
              <a:off x="1972411" y="2441547"/>
              <a:ext cx="107168" cy="137766"/>
            </a:xfrm>
            <a:prstGeom prst="straightConnector1">
              <a:avLst/>
            </a:prstGeom>
            <a:ln>
              <a:solidFill>
                <a:srgbClr val="00B050"/>
              </a:solidFill>
              <a:tailEnd type="stealth"/>
            </a:ln>
          </p:spPr>
          <p:style>
            <a:lnRef idx="1">
              <a:schemeClr val="accent1"/>
            </a:lnRef>
            <a:fillRef idx="0">
              <a:schemeClr val="accent1"/>
            </a:fillRef>
            <a:effectRef idx="0">
              <a:schemeClr val="accent1"/>
            </a:effectRef>
            <a:fontRef idx="minor">
              <a:schemeClr val="tx1"/>
            </a:fontRef>
          </p:style>
        </p:cxnSp>
        <p:cxnSp>
          <p:nvCxnSpPr>
            <p:cNvPr id="82" name="Gerade Verbindung mit Pfeil 43">
              <a:extLst>
                <a:ext uri="{FF2B5EF4-FFF2-40B4-BE49-F238E27FC236}">
                  <a16:creationId xmlns:a16="http://schemas.microsoft.com/office/drawing/2014/main" id="{CD067B7E-D7BA-0F9E-2396-DCA38ED0AD6D}"/>
                </a:ext>
              </a:extLst>
            </p:cNvPr>
            <p:cNvCxnSpPr/>
            <p:nvPr/>
          </p:nvCxnSpPr>
          <p:spPr>
            <a:xfrm>
              <a:off x="2079579" y="2579313"/>
              <a:ext cx="131336" cy="135356"/>
            </a:xfrm>
            <a:prstGeom prst="straightConnector1">
              <a:avLst/>
            </a:prstGeom>
            <a:ln>
              <a:solidFill>
                <a:srgbClr val="00B050"/>
              </a:solidFill>
              <a:tailEnd type="stealth"/>
            </a:ln>
          </p:spPr>
          <p:style>
            <a:lnRef idx="1">
              <a:schemeClr val="accent1"/>
            </a:lnRef>
            <a:fillRef idx="0">
              <a:schemeClr val="accent1"/>
            </a:fillRef>
            <a:effectRef idx="0">
              <a:schemeClr val="accent1"/>
            </a:effectRef>
            <a:fontRef idx="minor">
              <a:schemeClr val="tx1"/>
            </a:fontRef>
          </p:style>
        </p:cxnSp>
      </p:grpSp>
      <p:sp>
        <p:nvSpPr>
          <p:cNvPr id="83" name="TextBox 82">
            <a:extLst>
              <a:ext uri="{FF2B5EF4-FFF2-40B4-BE49-F238E27FC236}">
                <a16:creationId xmlns:a16="http://schemas.microsoft.com/office/drawing/2014/main" id="{0067DD5F-D9FE-E86F-9D0D-362580BEC462}"/>
              </a:ext>
            </a:extLst>
          </p:cNvPr>
          <p:cNvSpPr txBox="1"/>
          <p:nvPr/>
        </p:nvSpPr>
        <p:spPr>
          <a:xfrm>
            <a:off x="8313997" y="4101730"/>
            <a:ext cx="3644143" cy="1380121"/>
          </a:xfrm>
          <a:prstGeom prst="rect">
            <a:avLst/>
          </a:prstGeom>
          <a:noFill/>
        </p:spPr>
        <p:txBody>
          <a:bodyPr wrap="square" lIns="0" tIns="0" rIns="0" bIns="0" rtlCol="0">
            <a:spAutoFit/>
          </a:bodyPr>
          <a:lstStyle/>
          <a:p>
            <a:pPr>
              <a:lnSpc>
                <a:spcPct val="114000"/>
              </a:lnSpc>
            </a:pPr>
            <a:r>
              <a:rPr lang="en-GB" sz="1600" dirty="0">
                <a:latin typeface="+mn-lt"/>
              </a:rPr>
              <a:t>Figure 2: Comparing path to real trajectories. Black is ideal path. Green and blue are trajectories. Is it faster to accelerate around the corner, or to turn off the laser, do a loop, and continue?</a:t>
            </a:r>
          </a:p>
        </p:txBody>
      </p:sp>
    </p:spTree>
    <p:extLst>
      <p:ext uri="{BB962C8B-B14F-4D97-AF65-F5344CB8AC3E}">
        <p14:creationId xmlns:p14="http://schemas.microsoft.com/office/powerpoint/2010/main" val="9793618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A07891F-ACFE-D2F7-B20C-2F3D65707F02}"/>
              </a:ext>
            </a:extLst>
          </p:cNvPr>
          <p:cNvSpPr>
            <a:spLocks noGrp="1"/>
          </p:cNvSpPr>
          <p:nvPr>
            <p:ph type="title"/>
          </p:nvPr>
        </p:nvSpPr>
        <p:spPr/>
        <p:txBody>
          <a:bodyPr/>
          <a:lstStyle/>
          <a:p>
            <a:r>
              <a:rPr lang="en-GB" dirty="0"/>
              <a:t>Requirements</a:t>
            </a:r>
          </a:p>
        </p:txBody>
      </p:sp>
      <p:sp>
        <p:nvSpPr>
          <p:cNvPr id="10" name="Text Placeholder 9">
            <a:extLst>
              <a:ext uri="{FF2B5EF4-FFF2-40B4-BE49-F238E27FC236}">
                <a16:creationId xmlns:a16="http://schemas.microsoft.com/office/drawing/2014/main" id="{6F003336-489A-D752-458E-C60D689F0D80}"/>
              </a:ext>
            </a:extLst>
          </p:cNvPr>
          <p:cNvSpPr>
            <a:spLocks noGrp="1"/>
          </p:cNvSpPr>
          <p:nvPr>
            <p:ph type="body" sz="quarter" idx="17"/>
          </p:nvPr>
        </p:nvSpPr>
        <p:spPr/>
        <p:txBody>
          <a:bodyPr/>
          <a:lstStyle/>
          <a:p>
            <a:endParaRPr lang="en-GB"/>
          </a:p>
        </p:txBody>
      </p:sp>
      <p:sp>
        <p:nvSpPr>
          <p:cNvPr id="2" name="Slide Number Placeholder 1">
            <a:extLst>
              <a:ext uri="{FF2B5EF4-FFF2-40B4-BE49-F238E27FC236}">
                <a16:creationId xmlns:a16="http://schemas.microsoft.com/office/drawing/2014/main" id="{03BFDEC9-9825-14F8-2927-42F40A82FF93}"/>
              </a:ext>
            </a:extLst>
          </p:cNvPr>
          <p:cNvSpPr>
            <a:spLocks noGrp="1"/>
          </p:cNvSpPr>
          <p:nvPr>
            <p:ph type="sldNum" sz="quarter" idx="4"/>
          </p:nvPr>
        </p:nvSpPr>
        <p:spPr/>
        <p:txBody>
          <a:bodyPr/>
          <a:lstStyle/>
          <a:p>
            <a:pPr algn="r">
              <a:lnSpc>
                <a:spcPct val="110000"/>
              </a:lnSpc>
            </a:pPr>
            <a:fld id="{0150336B-E114-481A-A5C5-087F4C05B58E}" type="slidenum">
              <a:rPr lang="en-US" smtClean="0">
                <a:latin typeface="Arial" panose="020B0604020202020204" pitchFamily="34" charset="0"/>
              </a:rPr>
              <a:pPr algn="r">
                <a:lnSpc>
                  <a:spcPct val="110000"/>
                </a:lnSpc>
              </a:pPr>
              <a:t>5</a:t>
            </a:fld>
            <a:endParaRPr lang="en-US" dirty="0">
              <a:latin typeface="Arial" panose="020B0604020202020204" pitchFamily="34" charset="0"/>
            </a:endParaRPr>
          </a:p>
        </p:txBody>
      </p:sp>
      <p:grpSp>
        <p:nvGrpSpPr>
          <p:cNvPr id="11" name="Group 10">
            <a:extLst>
              <a:ext uri="{FF2B5EF4-FFF2-40B4-BE49-F238E27FC236}">
                <a16:creationId xmlns:a16="http://schemas.microsoft.com/office/drawing/2014/main" id="{97361287-C8C6-F0C3-E27D-36CE0C8F28FB}"/>
              </a:ext>
            </a:extLst>
          </p:cNvPr>
          <p:cNvGrpSpPr/>
          <p:nvPr>
            <p:custDataLst>
              <p:tags r:id="rId1"/>
            </p:custDataLst>
          </p:nvPr>
        </p:nvGrpSpPr>
        <p:grpSpPr>
          <a:xfrm>
            <a:off x="425456" y="1115678"/>
            <a:ext cx="11334748" cy="2905889"/>
            <a:chOff x="514347" y="1717677"/>
            <a:chExt cx="11160922" cy="3758733"/>
          </a:xfrm>
        </p:grpSpPr>
        <p:sp>
          <p:nvSpPr>
            <p:cNvPr id="12" name="Text Placeholder 2">
              <a:extLst>
                <a:ext uri="{FF2B5EF4-FFF2-40B4-BE49-F238E27FC236}">
                  <a16:creationId xmlns:a16="http://schemas.microsoft.com/office/drawing/2014/main" id="{60831BDE-F301-994B-A1EE-595A619EC8A5}"/>
                </a:ext>
              </a:extLst>
            </p:cNvPr>
            <p:cNvSpPr txBox="1">
              <a:spLocks/>
            </p:cNvSpPr>
            <p:nvPr>
              <p:custDataLst>
                <p:tags r:id="rId15"/>
              </p:custDataLst>
            </p:nvPr>
          </p:nvSpPr>
          <p:spPr>
            <a:xfrm>
              <a:off x="514347" y="2179415"/>
              <a:ext cx="3597287" cy="3296995"/>
            </a:xfrm>
            <a:prstGeom prst="rect">
              <a:avLst/>
            </a:prstGeom>
            <a:solidFill>
              <a:srgbClr val="FFFFFF">
                <a:lumMod val="100000"/>
              </a:srgbClr>
            </a:solidFill>
            <a:ln w="9525" cmpd="sng">
              <a:solidFill>
                <a:schemeClr val="accent1">
                  <a:lumMod val="100000"/>
                </a:schemeClr>
              </a:solidFill>
              <a:prstDash val="solid"/>
            </a:ln>
          </p:spPr>
          <p:txBody>
            <a:bodyPr vert="horz" lIns="90011" tIns="108014" rIns="90011" bIns="46806"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sz="1800" dirty="0"/>
                <a:t>Trajectory needs to satisfy pre-existing dynamics model</a:t>
              </a:r>
            </a:p>
            <a:p>
              <a:pPr lvl="1"/>
              <a:r>
                <a:rPr lang="en-US" sz="1800" dirty="0"/>
                <a:t>Need flexibility to add constraints</a:t>
              </a:r>
            </a:p>
          </p:txBody>
        </p:sp>
        <p:sp>
          <p:nvSpPr>
            <p:cNvPr id="13" name="Text Placeholder 2">
              <a:extLst>
                <a:ext uri="{FF2B5EF4-FFF2-40B4-BE49-F238E27FC236}">
                  <a16:creationId xmlns:a16="http://schemas.microsoft.com/office/drawing/2014/main" id="{5CDB8E4A-69AF-B01F-8A85-C5DC2D465954}"/>
                </a:ext>
              </a:extLst>
            </p:cNvPr>
            <p:cNvSpPr txBox="1">
              <a:spLocks/>
            </p:cNvSpPr>
            <p:nvPr>
              <p:custDataLst>
                <p:tags r:id="rId16"/>
              </p:custDataLst>
            </p:nvPr>
          </p:nvSpPr>
          <p:spPr>
            <a:xfrm>
              <a:off x="8077982" y="2179415"/>
              <a:ext cx="3597287" cy="3296995"/>
            </a:xfrm>
            <a:prstGeom prst="rect">
              <a:avLst/>
            </a:prstGeom>
            <a:solidFill>
              <a:srgbClr val="FFFFFF">
                <a:lumMod val="100000"/>
              </a:srgbClr>
            </a:solidFill>
            <a:ln w="9525" cmpd="sng">
              <a:solidFill>
                <a:schemeClr val="accent1">
                  <a:lumMod val="100000"/>
                </a:schemeClr>
              </a:solidFill>
              <a:prstDash val="solid"/>
            </a:ln>
          </p:spPr>
          <p:txBody>
            <a:bodyPr vert="horz" lIns="90011" tIns="108014" rIns="90011" bIns="46806"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sz="1800" dirty="0"/>
                <a:t>Current high-end lasers require input every 10us</a:t>
              </a:r>
            </a:p>
            <a:p>
              <a:pPr lvl="1"/>
              <a:r>
                <a:rPr lang="en-US" sz="1800" dirty="0"/>
                <a:t>Need fast computation to update best trajectory depending on errors</a:t>
              </a:r>
            </a:p>
            <a:p>
              <a:pPr lvl="1"/>
              <a:endParaRPr lang="en-US" sz="1800" dirty="0"/>
            </a:p>
          </p:txBody>
        </p:sp>
        <p:sp>
          <p:nvSpPr>
            <p:cNvPr id="14" name="Text Placeholder 2">
              <a:extLst>
                <a:ext uri="{FF2B5EF4-FFF2-40B4-BE49-F238E27FC236}">
                  <a16:creationId xmlns:a16="http://schemas.microsoft.com/office/drawing/2014/main" id="{70B3C380-2587-2210-A379-93B70E15EB88}"/>
                </a:ext>
              </a:extLst>
            </p:cNvPr>
            <p:cNvSpPr txBox="1">
              <a:spLocks/>
            </p:cNvSpPr>
            <p:nvPr>
              <p:custDataLst>
                <p:tags r:id="rId17"/>
              </p:custDataLst>
            </p:nvPr>
          </p:nvSpPr>
          <p:spPr>
            <a:xfrm>
              <a:off x="4296164" y="2179415"/>
              <a:ext cx="3597287" cy="3296995"/>
            </a:xfrm>
            <a:prstGeom prst="rect">
              <a:avLst/>
            </a:prstGeom>
            <a:solidFill>
              <a:srgbClr val="FFFFFF">
                <a:lumMod val="100000"/>
              </a:srgbClr>
            </a:solidFill>
            <a:ln w="9525" cmpd="sng">
              <a:solidFill>
                <a:schemeClr val="accent1">
                  <a:lumMod val="100000"/>
                </a:schemeClr>
              </a:solidFill>
              <a:prstDash val="solid"/>
            </a:ln>
          </p:spPr>
          <p:txBody>
            <a:bodyPr vert="horz" lIns="90011" tIns="108014" rIns="90011" bIns="46806"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sz="1800" dirty="0"/>
                <a:t>Goal is find the trajectory to follow the path in the fastest time</a:t>
              </a:r>
            </a:p>
            <a:p>
              <a:pPr lvl="1"/>
              <a:r>
                <a:rPr lang="en-US" sz="1800" dirty="0"/>
                <a:t>Need to be able to specify allowed errors</a:t>
              </a:r>
            </a:p>
          </p:txBody>
        </p:sp>
        <p:sp>
          <p:nvSpPr>
            <p:cNvPr id="15" name="Rechteck 19">
              <a:extLst>
                <a:ext uri="{FF2B5EF4-FFF2-40B4-BE49-F238E27FC236}">
                  <a16:creationId xmlns:a16="http://schemas.microsoft.com/office/drawing/2014/main" id="{0E9A63E0-1F6B-7746-0624-0871BF83257E}"/>
                </a:ext>
              </a:extLst>
            </p:cNvPr>
            <p:cNvSpPr/>
            <p:nvPr>
              <p:custDataLst>
                <p:tags r:id="rId18"/>
              </p:custDataLst>
            </p:nvPr>
          </p:nvSpPr>
          <p:spPr bwMode="auto">
            <a:xfrm>
              <a:off x="514347" y="1717677"/>
              <a:ext cx="359728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dirty="0">
                  <a:solidFill>
                    <a:schemeClr val="bg1"/>
                  </a:solidFill>
                  <a:latin typeface="Arial" panose="020B0604020202020204" pitchFamily="34" charset="0"/>
                </a:rPr>
                <a:t>Existing Dynamics Model</a:t>
              </a:r>
            </a:p>
          </p:txBody>
        </p:sp>
        <p:sp>
          <p:nvSpPr>
            <p:cNvPr id="16" name="Rechteck 18">
              <a:extLst>
                <a:ext uri="{FF2B5EF4-FFF2-40B4-BE49-F238E27FC236}">
                  <a16:creationId xmlns:a16="http://schemas.microsoft.com/office/drawing/2014/main" id="{90CD5B97-8ABB-0A73-CC33-9D5924B84801}"/>
                </a:ext>
              </a:extLst>
            </p:cNvPr>
            <p:cNvSpPr/>
            <p:nvPr>
              <p:custDataLst>
                <p:tags r:id="rId19"/>
              </p:custDataLst>
            </p:nvPr>
          </p:nvSpPr>
          <p:spPr bwMode="auto">
            <a:xfrm>
              <a:off x="8077982" y="1717678"/>
              <a:ext cx="359728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dirty="0">
                  <a:solidFill>
                    <a:schemeClr val="bg1"/>
                  </a:solidFill>
                  <a:latin typeface="Arial" panose="020B0604020202020204" pitchFamily="34" charset="0"/>
                </a:rPr>
                <a:t>Fast Computation</a:t>
              </a:r>
            </a:p>
          </p:txBody>
        </p:sp>
        <p:sp>
          <p:nvSpPr>
            <p:cNvPr id="17" name="Rechteck 17">
              <a:extLst>
                <a:ext uri="{FF2B5EF4-FFF2-40B4-BE49-F238E27FC236}">
                  <a16:creationId xmlns:a16="http://schemas.microsoft.com/office/drawing/2014/main" id="{AABFFF63-47B9-2CB2-741D-2D9BADBECB0A}"/>
                </a:ext>
              </a:extLst>
            </p:cNvPr>
            <p:cNvSpPr/>
            <p:nvPr>
              <p:custDataLst>
                <p:tags r:id="rId20"/>
              </p:custDataLst>
            </p:nvPr>
          </p:nvSpPr>
          <p:spPr bwMode="auto">
            <a:xfrm>
              <a:off x="4296164" y="1717677"/>
              <a:ext cx="3597287"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dirty="0">
                  <a:solidFill>
                    <a:schemeClr val="bg1"/>
                  </a:solidFill>
                  <a:latin typeface="Arial" panose="020B0604020202020204" pitchFamily="34" charset="0"/>
                </a:rPr>
                <a:t>Least Time </a:t>
              </a:r>
              <a:r>
                <a:rPr lang="en-US" dirty="0" err="1">
                  <a:solidFill>
                    <a:schemeClr val="bg1"/>
                  </a:solidFill>
                  <a:latin typeface="Arial" panose="020B0604020202020204" pitchFamily="34" charset="0"/>
                </a:rPr>
                <a:t>Optimisation</a:t>
              </a:r>
              <a:r>
                <a:rPr lang="en-US" dirty="0">
                  <a:solidFill>
                    <a:schemeClr val="bg1"/>
                  </a:solidFill>
                  <a:latin typeface="Arial" panose="020B0604020202020204" pitchFamily="34" charset="0"/>
                </a:rPr>
                <a:t> </a:t>
              </a:r>
            </a:p>
          </p:txBody>
        </p:sp>
        <p:sp>
          <p:nvSpPr>
            <p:cNvPr id="19" name="Rechteck 13">
              <a:extLst>
                <a:ext uri="{FF2B5EF4-FFF2-40B4-BE49-F238E27FC236}">
                  <a16:creationId xmlns:a16="http://schemas.microsoft.com/office/drawing/2014/main" id="{26491EED-F773-C310-32F5-8CE4CD8C34C3}"/>
                </a:ext>
              </a:extLst>
            </p:cNvPr>
            <p:cNvSpPr>
              <a:spLocks noChangeAspect="1"/>
            </p:cNvSpPr>
            <p:nvPr/>
          </p:nvSpPr>
          <p:spPr bwMode="auto">
            <a:xfrm>
              <a:off x="633125" y="1805108"/>
              <a:ext cx="384794" cy="286874"/>
            </a:xfrm>
            <a:prstGeom prst="rect">
              <a:avLst/>
            </a:prstGeom>
            <a:solidFill>
              <a:srgbClr val="FFFFFF"/>
            </a:solidFill>
            <a:ln>
              <a:solidFill>
                <a:schemeClr val="accent1">
                  <a:lumMod val="100000"/>
                </a:schemeClr>
              </a:solidFill>
            </a:ln>
            <a:effectLst/>
          </p:spPr>
          <p:txBody>
            <a:bodyPr wrap="square" lIns="0" tIns="0" rIns="0" bIns="0" numCol="1" spcCol="72000" rtlCol="0" anchor="ctr">
              <a:noAutofit/>
            </a:bodyPr>
            <a:lstStyle/>
            <a:p>
              <a:pPr algn="ctr">
                <a:defRPr/>
              </a:pPr>
              <a:r>
                <a:rPr lang="en-US" sz="1200" b="1" kern="0" dirty="0">
                  <a:latin typeface="Arial" panose="020B0604020202020204" pitchFamily="34" charset="0"/>
                  <a:ea typeface="ＭＳ Ｐゴシック" charset="-128"/>
                </a:rPr>
                <a:t>1</a:t>
              </a:r>
            </a:p>
          </p:txBody>
        </p:sp>
        <p:sp>
          <p:nvSpPr>
            <p:cNvPr id="20" name="Rechteck 14">
              <a:extLst>
                <a:ext uri="{FF2B5EF4-FFF2-40B4-BE49-F238E27FC236}">
                  <a16:creationId xmlns:a16="http://schemas.microsoft.com/office/drawing/2014/main" id="{7B46B2D4-0210-7443-3B4D-97FCEBD07BBC}"/>
                </a:ext>
              </a:extLst>
            </p:cNvPr>
            <p:cNvSpPr>
              <a:spLocks noChangeAspect="1"/>
            </p:cNvSpPr>
            <p:nvPr/>
          </p:nvSpPr>
          <p:spPr bwMode="auto">
            <a:xfrm>
              <a:off x="4414943" y="1805109"/>
              <a:ext cx="384794" cy="286874"/>
            </a:xfrm>
            <a:prstGeom prst="rect">
              <a:avLst/>
            </a:prstGeom>
            <a:solidFill>
              <a:srgbClr val="FFFFFF"/>
            </a:solidFill>
            <a:ln>
              <a:solidFill>
                <a:schemeClr val="accent1">
                  <a:lumMod val="100000"/>
                </a:schemeClr>
              </a:solidFill>
            </a:ln>
            <a:effectLst/>
          </p:spPr>
          <p:txBody>
            <a:bodyPr wrap="square" lIns="0" tIns="0" rIns="0" bIns="0" numCol="1" spcCol="72000" rtlCol="0" anchor="ctr">
              <a:noAutofit/>
            </a:bodyPr>
            <a:lstStyle/>
            <a:p>
              <a:pPr algn="ctr">
                <a:defRPr/>
              </a:pPr>
              <a:r>
                <a:rPr lang="en-US" sz="1200" b="1" kern="0" dirty="0">
                  <a:latin typeface="Arial" panose="020B0604020202020204" pitchFamily="34" charset="0"/>
                  <a:ea typeface="ＭＳ Ｐゴシック" charset="-128"/>
                </a:rPr>
                <a:t>2</a:t>
              </a:r>
            </a:p>
          </p:txBody>
        </p:sp>
        <p:sp>
          <p:nvSpPr>
            <p:cNvPr id="21" name="Rechteck 15">
              <a:extLst>
                <a:ext uri="{FF2B5EF4-FFF2-40B4-BE49-F238E27FC236}">
                  <a16:creationId xmlns:a16="http://schemas.microsoft.com/office/drawing/2014/main" id="{BDF7F03E-B2F8-C0C2-8310-F1BBE6E3CB17}"/>
                </a:ext>
              </a:extLst>
            </p:cNvPr>
            <p:cNvSpPr>
              <a:spLocks noChangeAspect="1"/>
            </p:cNvSpPr>
            <p:nvPr/>
          </p:nvSpPr>
          <p:spPr bwMode="auto">
            <a:xfrm>
              <a:off x="8196759" y="1805108"/>
              <a:ext cx="384794" cy="286874"/>
            </a:xfrm>
            <a:prstGeom prst="rect">
              <a:avLst/>
            </a:prstGeom>
            <a:solidFill>
              <a:srgbClr val="FFFFFF"/>
            </a:solidFill>
            <a:ln>
              <a:solidFill>
                <a:schemeClr val="accent1">
                  <a:lumMod val="100000"/>
                </a:schemeClr>
              </a:solidFill>
            </a:ln>
            <a:effectLst/>
          </p:spPr>
          <p:txBody>
            <a:bodyPr wrap="square" lIns="0" tIns="0" rIns="0" bIns="0" numCol="1" spcCol="72000" rtlCol="0" anchor="ctr">
              <a:noAutofit/>
            </a:bodyPr>
            <a:lstStyle/>
            <a:p>
              <a:pPr algn="ctr">
                <a:defRPr/>
              </a:pPr>
              <a:r>
                <a:rPr lang="en-US" sz="1200" b="1" kern="0" dirty="0">
                  <a:latin typeface="Arial" panose="020B0604020202020204" pitchFamily="34" charset="0"/>
                  <a:ea typeface="ＭＳ Ｐゴシック" charset="-128"/>
                </a:rPr>
                <a:t>3</a:t>
              </a:r>
            </a:p>
          </p:txBody>
        </p:sp>
      </p:grpSp>
      <p:grpSp>
        <p:nvGrpSpPr>
          <p:cNvPr id="22" name="Group 21" hidden="1">
            <a:extLst>
              <a:ext uri="{FF2B5EF4-FFF2-40B4-BE49-F238E27FC236}">
                <a16:creationId xmlns:a16="http://schemas.microsoft.com/office/drawing/2014/main" id="{D5DC39D2-2920-D346-C201-26DABC9B675C}"/>
              </a:ext>
            </a:extLst>
          </p:cNvPr>
          <p:cNvGrpSpPr/>
          <p:nvPr>
            <p:custDataLst>
              <p:tags r:id="rId2"/>
            </p:custDataLst>
          </p:nvPr>
        </p:nvGrpSpPr>
        <p:grpSpPr>
          <a:xfrm>
            <a:off x="425455" y="1808163"/>
            <a:ext cx="11334748" cy="4608513"/>
            <a:chOff x="514347" y="1717677"/>
            <a:chExt cx="11160920" cy="4448173"/>
          </a:xfrm>
        </p:grpSpPr>
        <p:sp>
          <p:nvSpPr>
            <p:cNvPr id="23" name="Text Placeholder 2" hidden="1">
              <a:extLst>
                <a:ext uri="{FF2B5EF4-FFF2-40B4-BE49-F238E27FC236}">
                  <a16:creationId xmlns:a16="http://schemas.microsoft.com/office/drawing/2014/main" id="{39FE76E8-D01A-A002-6F18-20747D967C33}"/>
                </a:ext>
              </a:extLst>
            </p:cNvPr>
            <p:cNvSpPr txBox="1">
              <a:spLocks/>
            </p:cNvSpPr>
            <p:nvPr>
              <p:custDataLst>
                <p:tags r:id="rId8"/>
              </p:custDataLst>
            </p:nvPr>
          </p:nvSpPr>
          <p:spPr>
            <a:xfrm>
              <a:off x="514347" y="2179415"/>
              <a:ext cx="3597286" cy="3296995"/>
            </a:xfrm>
            <a:prstGeom prst="rect">
              <a:avLst/>
            </a:prstGeom>
            <a:solidFill>
              <a:srgbClr val="FFFFFF">
                <a:lumMod val="100000"/>
              </a:srgbClr>
            </a:solidFill>
            <a:ln w="9525" cmpd="sng">
              <a:solidFill>
                <a:schemeClr val="accent1">
                  <a:lumMod val="100000"/>
                </a:schemeClr>
              </a:solidFill>
              <a:prstDash val="solid"/>
            </a:ln>
          </p:spPr>
          <p:txBody>
            <a:bodyPr vert="horz" lIns="90011" tIns="108014" rIns="90011" bIns="46806"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t>Lorem ipsum dolor sit </a:t>
              </a:r>
              <a:r>
                <a:rPr lang="en-US" dirty="0" err="1"/>
                <a:t>amet</a:t>
              </a:r>
              <a:r>
                <a:rPr lang="en-US" dirty="0"/>
                <a:t>, </a:t>
              </a:r>
              <a:r>
                <a:rPr lang="en-US" dirty="0" err="1"/>
                <a:t>consetetur</a:t>
              </a:r>
              <a:r>
                <a:rPr lang="en-US" dirty="0"/>
                <a:t> </a:t>
              </a:r>
              <a:r>
                <a:rPr lang="en-US" dirty="0" err="1"/>
                <a:t>elitr</a:t>
              </a:r>
              <a:endParaRPr lang="en-US" dirty="0"/>
            </a:p>
            <a:p>
              <a:pPr lvl="1"/>
              <a:r>
                <a:rPr lang="en-US" dirty="0"/>
                <a:t>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endParaRPr lang="en-US" dirty="0"/>
            </a:p>
          </p:txBody>
        </p:sp>
        <p:sp>
          <p:nvSpPr>
            <p:cNvPr id="24" name="Text Placeholder 2" hidden="1">
              <a:extLst>
                <a:ext uri="{FF2B5EF4-FFF2-40B4-BE49-F238E27FC236}">
                  <a16:creationId xmlns:a16="http://schemas.microsoft.com/office/drawing/2014/main" id="{868E3E76-4FDD-7077-146B-7AE7DBC06C6E}"/>
                </a:ext>
              </a:extLst>
            </p:cNvPr>
            <p:cNvSpPr txBox="1">
              <a:spLocks/>
            </p:cNvSpPr>
            <p:nvPr>
              <p:custDataLst>
                <p:tags r:id="rId9"/>
              </p:custDataLst>
            </p:nvPr>
          </p:nvSpPr>
          <p:spPr>
            <a:xfrm>
              <a:off x="8077981" y="2179415"/>
              <a:ext cx="3597286" cy="3296995"/>
            </a:xfrm>
            <a:prstGeom prst="rect">
              <a:avLst/>
            </a:prstGeom>
            <a:solidFill>
              <a:srgbClr val="FFFFFF">
                <a:lumMod val="100000"/>
              </a:srgbClr>
            </a:solidFill>
            <a:ln w="9525" cmpd="sng">
              <a:solidFill>
                <a:schemeClr val="accent1">
                  <a:lumMod val="100000"/>
                </a:schemeClr>
              </a:solidFill>
              <a:prstDash val="solid"/>
            </a:ln>
          </p:spPr>
          <p:txBody>
            <a:bodyPr vert="horz" lIns="90011" tIns="108014" rIns="90011" bIns="46806"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t>Lorem ipsum dolor sit </a:t>
              </a:r>
              <a:r>
                <a:rPr lang="en-US" dirty="0" err="1"/>
                <a:t>amet</a:t>
              </a:r>
              <a:r>
                <a:rPr lang="en-US" dirty="0"/>
                <a:t>, </a:t>
              </a:r>
              <a:r>
                <a:rPr lang="en-US" dirty="0" err="1"/>
                <a:t>consetetur</a:t>
              </a:r>
              <a:r>
                <a:rPr lang="en-US" dirty="0"/>
                <a:t> </a:t>
              </a:r>
              <a:r>
                <a:rPr lang="en-US" dirty="0" err="1"/>
                <a:t>elitr</a:t>
              </a:r>
              <a:endParaRPr lang="en-US" dirty="0"/>
            </a:p>
            <a:p>
              <a:pPr lvl="1"/>
              <a:r>
                <a:rPr lang="en-US" dirty="0"/>
                <a:t>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endParaRPr lang="en-US" dirty="0"/>
            </a:p>
          </p:txBody>
        </p:sp>
        <p:sp>
          <p:nvSpPr>
            <p:cNvPr id="25" name="Text Placeholder 2" hidden="1">
              <a:extLst>
                <a:ext uri="{FF2B5EF4-FFF2-40B4-BE49-F238E27FC236}">
                  <a16:creationId xmlns:a16="http://schemas.microsoft.com/office/drawing/2014/main" id="{D477E418-3261-6B7C-7963-691B7835B5DA}"/>
                </a:ext>
              </a:extLst>
            </p:cNvPr>
            <p:cNvSpPr txBox="1">
              <a:spLocks/>
            </p:cNvSpPr>
            <p:nvPr>
              <p:custDataLst>
                <p:tags r:id="rId10"/>
              </p:custDataLst>
            </p:nvPr>
          </p:nvSpPr>
          <p:spPr>
            <a:xfrm>
              <a:off x="4296163" y="2179415"/>
              <a:ext cx="3597286" cy="3296995"/>
            </a:xfrm>
            <a:prstGeom prst="rect">
              <a:avLst/>
            </a:prstGeom>
            <a:solidFill>
              <a:srgbClr val="FFFFFF">
                <a:lumMod val="100000"/>
              </a:srgbClr>
            </a:solidFill>
            <a:ln w="9525" cmpd="sng">
              <a:solidFill>
                <a:schemeClr val="accent1">
                  <a:lumMod val="100000"/>
                </a:schemeClr>
              </a:solidFill>
              <a:prstDash val="solid"/>
            </a:ln>
          </p:spPr>
          <p:txBody>
            <a:bodyPr vert="horz" lIns="90011" tIns="108014" rIns="90011" bIns="46806"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t>Lorem ipsum dolor sit </a:t>
              </a:r>
              <a:r>
                <a:rPr lang="en-US" dirty="0" err="1"/>
                <a:t>amet</a:t>
              </a:r>
              <a:r>
                <a:rPr lang="en-US" dirty="0"/>
                <a:t>, </a:t>
              </a:r>
              <a:r>
                <a:rPr lang="en-US" dirty="0" err="1"/>
                <a:t>consetetur</a:t>
              </a:r>
              <a:r>
                <a:rPr lang="en-US" dirty="0"/>
                <a:t> </a:t>
              </a:r>
              <a:r>
                <a:rPr lang="en-US" dirty="0" err="1"/>
                <a:t>elitr</a:t>
              </a:r>
              <a:endParaRPr lang="en-US" dirty="0"/>
            </a:p>
            <a:p>
              <a:pPr lvl="1"/>
              <a:r>
                <a:rPr lang="en-US" dirty="0"/>
                <a:t>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endParaRPr lang="en-US" dirty="0"/>
            </a:p>
          </p:txBody>
        </p:sp>
        <p:sp>
          <p:nvSpPr>
            <p:cNvPr id="26" name="Rechteck 19" hidden="1">
              <a:extLst>
                <a:ext uri="{FF2B5EF4-FFF2-40B4-BE49-F238E27FC236}">
                  <a16:creationId xmlns:a16="http://schemas.microsoft.com/office/drawing/2014/main" id="{D3ECF838-5065-5429-7308-4664985A6A0D}"/>
                </a:ext>
              </a:extLst>
            </p:cNvPr>
            <p:cNvSpPr/>
            <p:nvPr>
              <p:custDataLst>
                <p:tags r:id="rId11"/>
              </p:custDataLst>
            </p:nvPr>
          </p:nvSpPr>
          <p:spPr bwMode="auto">
            <a:xfrm>
              <a:off x="514347"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latin typeface="Arial" panose="020B0604020202020204" pitchFamily="34" charset="0"/>
                </a:rPr>
                <a:t>Header A</a:t>
              </a:r>
            </a:p>
          </p:txBody>
        </p:sp>
        <p:sp>
          <p:nvSpPr>
            <p:cNvPr id="27" name="Rechteck 18" hidden="1">
              <a:extLst>
                <a:ext uri="{FF2B5EF4-FFF2-40B4-BE49-F238E27FC236}">
                  <a16:creationId xmlns:a16="http://schemas.microsoft.com/office/drawing/2014/main" id="{FED5426B-7911-56AB-ACCA-8E5F5275FE81}"/>
                </a:ext>
              </a:extLst>
            </p:cNvPr>
            <p:cNvSpPr/>
            <p:nvPr>
              <p:custDataLst>
                <p:tags r:id="rId12"/>
              </p:custDataLst>
            </p:nvPr>
          </p:nvSpPr>
          <p:spPr bwMode="auto">
            <a:xfrm>
              <a:off x="8077981"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latin typeface="Arial" panose="020B0604020202020204" pitchFamily="34" charset="0"/>
                </a:rPr>
                <a:t>Header C</a:t>
              </a:r>
            </a:p>
          </p:txBody>
        </p:sp>
        <p:sp>
          <p:nvSpPr>
            <p:cNvPr id="28" name="Rechteck 17" hidden="1">
              <a:extLst>
                <a:ext uri="{FF2B5EF4-FFF2-40B4-BE49-F238E27FC236}">
                  <a16:creationId xmlns:a16="http://schemas.microsoft.com/office/drawing/2014/main" id="{9759DFAB-9346-2D9E-C467-D67CFCADF91D}"/>
                </a:ext>
              </a:extLst>
            </p:cNvPr>
            <p:cNvSpPr/>
            <p:nvPr>
              <p:custDataLst>
                <p:tags r:id="rId13"/>
              </p:custDataLst>
            </p:nvPr>
          </p:nvSpPr>
          <p:spPr bwMode="auto">
            <a:xfrm>
              <a:off x="4296163" y="1717677"/>
              <a:ext cx="3597286"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latin typeface="Arial" panose="020B0604020202020204" pitchFamily="34" charset="0"/>
                </a:rPr>
                <a:t>Header B</a:t>
              </a:r>
            </a:p>
          </p:txBody>
        </p:sp>
        <p:sp>
          <p:nvSpPr>
            <p:cNvPr id="29" name="Rechteck 4" hidden="1">
              <a:extLst>
                <a:ext uri="{FF2B5EF4-FFF2-40B4-BE49-F238E27FC236}">
                  <a16:creationId xmlns:a16="http://schemas.microsoft.com/office/drawing/2014/main" id="{8F67570D-B0D1-4ECD-3A60-0C264E2E7550}"/>
                </a:ext>
              </a:extLst>
            </p:cNvPr>
            <p:cNvSpPr/>
            <p:nvPr>
              <p:custDataLst>
                <p:tags r:id="rId14"/>
              </p:custDataLst>
            </p:nvPr>
          </p:nvSpPr>
          <p:spPr bwMode="auto">
            <a:xfrm>
              <a:off x="514348" y="5585966"/>
              <a:ext cx="11160917" cy="579884"/>
            </a:xfrm>
            <a:prstGeom prst="rect">
              <a:avLst/>
            </a:prstGeom>
            <a:solidFill>
              <a:schemeClr val="accent1">
                <a:lumMod val="100000"/>
              </a:schemeClr>
            </a:solidFill>
            <a:ln w="9525">
              <a:noFill/>
              <a:miter lim="800000"/>
              <a:headEnd/>
              <a:tailEnd/>
            </a:ln>
            <a:effectLst/>
            <a:extLst>
              <a:ext uri="{91240B29-F687-4F45-9708-019B960494DF}">
                <a14:hiddenLine xmlns:a14="http://schemas.microsoft.com/office/drawing/2010/main" w="9525">
                  <a:solidFill>
                    <a:schemeClr val="accent1">
                      <a:lumMod val="100000"/>
                    </a:schemeClr>
                  </a:solidFill>
                  <a:miter lim="800000"/>
                  <a:headEnd/>
                  <a:tailEnd/>
                </a14:hiddenLine>
              </a:ext>
            </a:extLst>
          </p:spPr>
          <p:txBody>
            <a:bodyPr vert="horz" wrap="square" lIns="72000" tIns="72000" rIns="72000" bIns="72000" anchor="ctr" anchorCtr="0">
              <a:noAutofit/>
            </a:bodyPr>
            <a:lstStyle/>
            <a:p>
              <a:pPr algn="ctr">
                <a:spcBef>
                  <a:spcPct val="0"/>
                </a:spcBef>
                <a:spcAft>
                  <a:spcPct val="0"/>
                </a:spcAft>
              </a:pPr>
              <a:r>
                <a:rPr lang="en-US" sz="1600" dirty="0">
                  <a:solidFill>
                    <a:schemeClr val="bg1">
                      <a:lumMod val="100000"/>
                    </a:schemeClr>
                  </a:solidFill>
                  <a:latin typeface="Arial" panose="020B0604020202020204" pitchFamily="34" charset="0"/>
                </a:rPr>
                <a:t>Please choose high contrast between Primary and Contrast color</a:t>
              </a:r>
            </a:p>
          </p:txBody>
        </p:sp>
        <p:sp>
          <p:nvSpPr>
            <p:cNvPr id="30" name="Rechteck 13" hidden="1">
              <a:extLst>
                <a:ext uri="{FF2B5EF4-FFF2-40B4-BE49-F238E27FC236}">
                  <a16:creationId xmlns:a16="http://schemas.microsoft.com/office/drawing/2014/main" id="{D39092EF-6754-A2B6-AB42-4BE0F63076D0}"/>
                </a:ext>
              </a:extLst>
            </p:cNvPr>
            <p:cNvSpPr>
              <a:spLocks noChangeAspect="1"/>
            </p:cNvSpPr>
            <p:nvPr/>
          </p:nvSpPr>
          <p:spPr bwMode="auto">
            <a:xfrm>
              <a:off x="633125" y="1805108"/>
              <a:ext cx="384794" cy="286874"/>
            </a:xfrm>
            <a:prstGeom prst="rect">
              <a:avLst/>
            </a:prstGeom>
            <a:solidFill>
              <a:srgbClr val="FFFFFF"/>
            </a:solidFill>
            <a:ln>
              <a:solidFill>
                <a:schemeClr val="accent1">
                  <a:lumMod val="100000"/>
                </a:schemeClr>
              </a:solidFill>
            </a:ln>
            <a:effectLst/>
          </p:spPr>
          <p:txBody>
            <a:bodyPr wrap="square" lIns="0" tIns="0" rIns="0" bIns="0" numCol="1" spcCol="72000" rtlCol="0" anchor="ctr">
              <a:noAutofit/>
            </a:bodyPr>
            <a:lstStyle/>
            <a:p>
              <a:pPr algn="ctr">
                <a:defRPr/>
              </a:pPr>
              <a:r>
                <a:rPr lang="en-US" sz="1200" b="1" kern="0" dirty="0">
                  <a:latin typeface="Arial" panose="020B0604020202020204" pitchFamily="34" charset="0"/>
                  <a:ea typeface="ＭＳ Ｐゴシック" charset="-128"/>
                </a:rPr>
                <a:t>1</a:t>
              </a:r>
            </a:p>
          </p:txBody>
        </p:sp>
        <p:sp>
          <p:nvSpPr>
            <p:cNvPr id="31" name="Rechteck 14" hidden="1">
              <a:extLst>
                <a:ext uri="{FF2B5EF4-FFF2-40B4-BE49-F238E27FC236}">
                  <a16:creationId xmlns:a16="http://schemas.microsoft.com/office/drawing/2014/main" id="{24BCED68-CD44-9822-0DA6-9F102F7FE6F9}"/>
                </a:ext>
              </a:extLst>
            </p:cNvPr>
            <p:cNvSpPr>
              <a:spLocks noChangeAspect="1"/>
            </p:cNvSpPr>
            <p:nvPr/>
          </p:nvSpPr>
          <p:spPr bwMode="auto">
            <a:xfrm>
              <a:off x="4414942" y="1805108"/>
              <a:ext cx="384794" cy="286874"/>
            </a:xfrm>
            <a:prstGeom prst="rect">
              <a:avLst/>
            </a:prstGeom>
            <a:solidFill>
              <a:srgbClr val="FFFFFF"/>
            </a:solidFill>
            <a:ln>
              <a:solidFill>
                <a:schemeClr val="accent1">
                  <a:lumMod val="100000"/>
                </a:schemeClr>
              </a:solidFill>
            </a:ln>
            <a:effectLst/>
          </p:spPr>
          <p:txBody>
            <a:bodyPr wrap="square" lIns="0" tIns="0" rIns="0" bIns="0" numCol="1" spcCol="72000" rtlCol="0" anchor="ctr">
              <a:noAutofit/>
            </a:bodyPr>
            <a:lstStyle/>
            <a:p>
              <a:pPr algn="ctr">
                <a:defRPr/>
              </a:pPr>
              <a:r>
                <a:rPr lang="en-US" sz="1200" b="1" kern="0" dirty="0">
                  <a:latin typeface="Arial" panose="020B0604020202020204" pitchFamily="34" charset="0"/>
                  <a:ea typeface="ＭＳ Ｐゴシック" charset="-128"/>
                </a:rPr>
                <a:t>2</a:t>
              </a:r>
            </a:p>
          </p:txBody>
        </p:sp>
        <p:sp>
          <p:nvSpPr>
            <p:cNvPr id="32" name="Rechteck 15" hidden="1">
              <a:extLst>
                <a:ext uri="{FF2B5EF4-FFF2-40B4-BE49-F238E27FC236}">
                  <a16:creationId xmlns:a16="http://schemas.microsoft.com/office/drawing/2014/main" id="{EE264A53-6D88-376F-5AC1-989D54ACE9D4}"/>
                </a:ext>
              </a:extLst>
            </p:cNvPr>
            <p:cNvSpPr>
              <a:spLocks noChangeAspect="1"/>
            </p:cNvSpPr>
            <p:nvPr/>
          </p:nvSpPr>
          <p:spPr bwMode="auto">
            <a:xfrm>
              <a:off x="8196759" y="1805108"/>
              <a:ext cx="384794" cy="286874"/>
            </a:xfrm>
            <a:prstGeom prst="rect">
              <a:avLst/>
            </a:prstGeom>
            <a:solidFill>
              <a:srgbClr val="FFFFFF"/>
            </a:solidFill>
            <a:ln>
              <a:solidFill>
                <a:schemeClr val="accent1">
                  <a:lumMod val="100000"/>
                </a:schemeClr>
              </a:solidFill>
            </a:ln>
            <a:effectLst/>
          </p:spPr>
          <p:txBody>
            <a:bodyPr wrap="square" lIns="0" tIns="0" rIns="0" bIns="0" numCol="1" spcCol="72000" rtlCol="0" anchor="ctr">
              <a:noAutofit/>
            </a:bodyPr>
            <a:lstStyle/>
            <a:p>
              <a:pPr algn="ctr">
                <a:defRPr/>
              </a:pPr>
              <a:r>
                <a:rPr lang="en-US" sz="1200" b="1" kern="0" dirty="0">
                  <a:latin typeface="Arial" panose="020B0604020202020204" pitchFamily="34" charset="0"/>
                  <a:ea typeface="ＭＳ Ｐゴシック" charset="-128"/>
                </a:rPr>
                <a:t>3</a:t>
              </a:r>
            </a:p>
          </p:txBody>
        </p:sp>
      </p:grpSp>
      <p:sp>
        <p:nvSpPr>
          <p:cNvPr id="43" name="ee4pContent1">
            <a:extLst>
              <a:ext uri="{FF2B5EF4-FFF2-40B4-BE49-F238E27FC236}">
                <a16:creationId xmlns:a16="http://schemas.microsoft.com/office/drawing/2014/main" id="{DAB2FE9A-6651-1448-A3A6-E44753EE93E6}"/>
              </a:ext>
            </a:extLst>
          </p:cNvPr>
          <p:cNvSpPr txBox="1">
            <a:spLocks/>
          </p:cNvSpPr>
          <p:nvPr>
            <p:custDataLst>
              <p:tags r:id="rId3"/>
            </p:custDataLst>
          </p:nvPr>
        </p:nvSpPr>
        <p:spPr>
          <a:xfrm>
            <a:off x="1017270" y="4889864"/>
            <a:ext cx="10502965" cy="146521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Methods only need to generate open loop optimal trajectories, which could then have randomised initial conditions to generate training data for a neural network.</a:t>
            </a:r>
          </a:p>
          <a:p>
            <a:pPr lvl="1">
              <a:spcAft>
                <a:spcPts val="0"/>
              </a:spcAft>
            </a:pPr>
            <a:r>
              <a:rPr lang="en-GB" sz="1800" dirty="0"/>
              <a:t>Closed loop solution can then be created.</a:t>
            </a:r>
          </a:p>
        </p:txBody>
      </p:sp>
      <p:sp>
        <p:nvSpPr>
          <p:cNvPr id="44" name="ee4pHeader1">
            <a:extLst>
              <a:ext uri="{FF2B5EF4-FFF2-40B4-BE49-F238E27FC236}">
                <a16:creationId xmlns:a16="http://schemas.microsoft.com/office/drawing/2014/main" id="{6193E869-7754-D476-4CCF-0FBCD1397985}"/>
              </a:ext>
            </a:extLst>
          </p:cNvPr>
          <p:cNvSpPr/>
          <p:nvPr>
            <p:custDataLst>
              <p:tags r:id="rId4"/>
            </p:custDataLst>
          </p:nvPr>
        </p:nvSpPr>
        <p:spPr bwMode="auto">
          <a:xfrm>
            <a:off x="1017270" y="4411482"/>
            <a:ext cx="10502965" cy="47838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Bef>
                <a:spcPts val="0"/>
              </a:spcBef>
              <a:spcAft>
                <a:spcPct val="0"/>
              </a:spcAft>
            </a:pPr>
            <a:r>
              <a:rPr lang="en-GB" dirty="0">
                <a:solidFill>
                  <a:schemeClr val="bg1"/>
                </a:solidFill>
                <a:latin typeface="Arial" panose="020B0604020202020204" pitchFamily="34" charset="0"/>
              </a:rPr>
              <a:t>Neural Networks – Fast method to approximate complex functions</a:t>
            </a:r>
          </a:p>
        </p:txBody>
      </p:sp>
      <p:sp>
        <p:nvSpPr>
          <p:cNvPr id="4" name="AutoShape 2">
            <a:extLst>
              <a:ext uri="{FF2B5EF4-FFF2-40B4-BE49-F238E27FC236}">
                <a16:creationId xmlns:a16="http://schemas.microsoft.com/office/drawing/2014/main" id="{25A4E976-D44C-5179-A225-43D88668B9DF}"/>
              </a:ext>
            </a:extLst>
          </p:cNvPr>
          <p:cNvSpPr>
            <a:spLocks noChangeArrowheads="1"/>
          </p:cNvSpPr>
          <p:nvPr>
            <p:custDataLst>
              <p:tags r:id="rId5"/>
            </p:custDataLst>
          </p:nvPr>
        </p:nvSpPr>
        <p:spPr bwMode="auto">
          <a:xfrm rot="5400000">
            <a:off x="9738591" y="2389868"/>
            <a:ext cx="389914" cy="3653313"/>
          </a:xfrm>
          <a:prstGeom prst="homePlate">
            <a:avLst>
              <a:gd name="adj" fmla="val 100000"/>
            </a:avLst>
          </a:prstGeom>
          <a:solidFill>
            <a:schemeClr val="accent1">
              <a:lumMod val="100000"/>
            </a:schemeClr>
          </a:solidFill>
          <a:ln>
            <a:noFill/>
          </a:ln>
          <a:effectLst/>
        </p:spPr>
        <p:txBody>
          <a:bodyPr wrap="none" lIns="0" tIns="0" rIns="0" bIns="0" anchor="ctr"/>
          <a:lstStyle/>
          <a:p>
            <a:endParaRPr lang="en-GB" dirty="0"/>
          </a:p>
        </p:txBody>
      </p:sp>
      <p:sp>
        <p:nvSpPr>
          <p:cNvPr id="5" name="AutoShape 2">
            <a:extLst>
              <a:ext uri="{FF2B5EF4-FFF2-40B4-BE49-F238E27FC236}">
                <a16:creationId xmlns:a16="http://schemas.microsoft.com/office/drawing/2014/main" id="{40AEDC97-5AC9-18B9-FA51-240AB7AFB9CD}"/>
              </a:ext>
            </a:extLst>
          </p:cNvPr>
          <p:cNvSpPr>
            <a:spLocks noChangeArrowheads="1"/>
          </p:cNvSpPr>
          <p:nvPr>
            <p:custDataLst>
              <p:tags r:id="rId6"/>
            </p:custDataLst>
          </p:nvPr>
        </p:nvSpPr>
        <p:spPr bwMode="auto">
          <a:xfrm rot="5400000">
            <a:off x="5897872" y="2389868"/>
            <a:ext cx="389914" cy="3653313"/>
          </a:xfrm>
          <a:prstGeom prst="homePlate">
            <a:avLst>
              <a:gd name="adj" fmla="val 100000"/>
            </a:avLst>
          </a:prstGeom>
          <a:solidFill>
            <a:schemeClr val="accent1">
              <a:lumMod val="100000"/>
            </a:schemeClr>
          </a:solidFill>
          <a:ln>
            <a:noFill/>
          </a:ln>
          <a:effectLst/>
        </p:spPr>
        <p:txBody>
          <a:bodyPr wrap="none" lIns="0" tIns="0" rIns="0" bIns="0" anchor="ctr"/>
          <a:lstStyle/>
          <a:p>
            <a:endParaRPr lang="en-GB" dirty="0"/>
          </a:p>
        </p:txBody>
      </p:sp>
      <p:sp>
        <p:nvSpPr>
          <p:cNvPr id="6" name="AutoShape 2">
            <a:extLst>
              <a:ext uri="{FF2B5EF4-FFF2-40B4-BE49-F238E27FC236}">
                <a16:creationId xmlns:a16="http://schemas.microsoft.com/office/drawing/2014/main" id="{6BDC07AB-93FB-1C37-03E3-EA752F36A219}"/>
              </a:ext>
            </a:extLst>
          </p:cNvPr>
          <p:cNvSpPr>
            <a:spLocks noChangeArrowheads="1"/>
          </p:cNvSpPr>
          <p:nvPr>
            <p:custDataLst>
              <p:tags r:id="rId7"/>
            </p:custDataLst>
          </p:nvPr>
        </p:nvSpPr>
        <p:spPr bwMode="auto">
          <a:xfrm rot="5400000">
            <a:off x="2057155" y="2389868"/>
            <a:ext cx="389914" cy="3653313"/>
          </a:xfrm>
          <a:prstGeom prst="homePlate">
            <a:avLst>
              <a:gd name="adj" fmla="val 100000"/>
            </a:avLst>
          </a:prstGeom>
          <a:solidFill>
            <a:schemeClr val="accent1">
              <a:lumMod val="100000"/>
            </a:schemeClr>
          </a:solidFill>
          <a:ln>
            <a:noFill/>
          </a:ln>
          <a:effectLst/>
        </p:spPr>
        <p:txBody>
          <a:bodyPr wrap="none" lIns="0" tIns="0" rIns="0" bIns="0" anchor="ctr"/>
          <a:lstStyle/>
          <a:p>
            <a:endParaRPr lang="en-GB" dirty="0"/>
          </a:p>
        </p:txBody>
      </p:sp>
    </p:spTree>
    <p:extLst>
      <p:ext uri="{BB962C8B-B14F-4D97-AF65-F5344CB8AC3E}">
        <p14:creationId xmlns:p14="http://schemas.microsoft.com/office/powerpoint/2010/main" val="3548897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104C6-D83B-2F49-5AAD-F9C936E95684}"/>
              </a:ext>
            </a:extLst>
          </p:cNvPr>
          <p:cNvSpPr>
            <a:spLocks noGrp="1"/>
          </p:cNvSpPr>
          <p:nvPr>
            <p:ph type="title"/>
          </p:nvPr>
        </p:nvSpPr>
        <p:spPr/>
        <p:txBody>
          <a:bodyPr/>
          <a:lstStyle/>
          <a:p>
            <a:r>
              <a:rPr lang="en-GB" dirty="0"/>
              <a:t>The Dynamics Model</a:t>
            </a:r>
          </a:p>
        </p:txBody>
      </p:sp>
      <p:sp>
        <p:nvSpPr>
          <p:cNvPr id="4" name="Slide Number Placeholder 3">
            <a:extLst>
              <a:ext uri="{FF2B5EF4-FFF2-40B4-BE49-F238E27FC236}">
                <a16:creationId xmlns:a16="http://schemas.microsoft.com/office/drawing/2014/main" id="{DD266FD1-3C63-930C-2D92-EFD2A81B33E5}"/>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6</a:t>
            </a:fld>
            <a:endParaRPr lang="en-US" dirty="0"/>
          </a:p>
        </p:txBody>
      </p:sp>
      <mc:AlternateContent xmlns:mc="http://schemas.openxmlformats.org/markup-compatibility/2006" xmlns:a14="http://schemas.microsoft.com/office/drawing/2010/main">
        <mc:Choice Requires="a14">
          <p:sp>
            <p:nvSpPr>
              <p:cNvPr id="5" name="ee4pContent1">
                <a:extLst>
                  <a:ext uri="{FF2B5EF4-FFF2-40B4-BE49-F238E27FC236}">
                    <a16:creationId xmlns:a16="http://schemas.microsoft.com/office/drawing/2014/main" id="{B8D304AA-FC13-255E-AEE0-1C4D09970C5F}"/>
                  </a:ext>
                </a:extLst>
              </p:cNvPr>
              <p:cNvSpPr txBox="1">
                <a:spLocks/>
              </p:cNvSpPr>
              <p:nvPr>
                <p:custDataLst>
                  <p:tags r:id="rId1"/>
                </p:custDataLst>
              </p:nvPr>
            </p:nvSpPr>
            <p:spPr>
              <a:xfrm>
                <a:off x="425458" y="1671404"/>
                <a:ext cx="4420020" cy="46130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Existing model is in the Laplace domain – useful for traditional PID controllers.</a:t>
                </a:r>
              </a:p>
              <a:p>
                <a:pPr lvl="1">
                  <a:spcAft>
                    <a:spcPts val="0"/>
                  </a:spcAft>
                </a:pPr>
                <a14:m>
                  <m:oMath xmlns:m="http://schemas.openxmlformats.org/officeDocument/2006/math">
                    <m:r>
                      <a:rPr lang="en-GB" sz="2400" i="1">
                        <a:latin typeface="Cambria Math" panose="02040503050406030204" pitchFamily="18" charset="0"/>
                      </a:rPr>
                      <m:t>𝐺</m:t>
                    </m:r>
                    <m:r>
                      <a:rPr lang="en-GB" sz="2400" i="1">
                        <a:latin typeface="Cambria Math" panose="02040503050406030204" pitchFamily="18" charset="0"/>
                      </a:rPr>
                      <m:t>(</m:t>
                    </m:r>
                    <m:r>
                      <a:rPr lang="en-GB" sz="2400" i="1">
                        <a:latin typeface="Cambria Math" panose="02040503050406030204" pitchFamily="18" charset="0"/>
                      </a:rPr>
                      <m:t>𝑠</m:t>
                    </m:r>
                    <m:r>
                      <a:rPr lang="en-GB" sz="2400" i="1">
                        <a:latin typeface="Cambria Math" panose="02040503050406030204" pitchFamily="18" charset="0"/>
                      </a:rPr>
                      <m:t>)=</m:t>
                    </m:r>
                    <m:f>
                      <m:fPr>
                        <m:ctrlPr>
                          <a:rPr lang="en-GB" sz="2400" i="1">
                            <a:latin typeface="Cambria Math" panose="02040503050406030204" pitchFamily="18" charset="0"/>
                          </a:rPr>
                        </m:ctrlPr>
                      </m:fPr>
                      <m:num>
                        <m:r>
                          <a:rPr lang="en-GB" sz="2400" i="1">
                            <a:latin typeface="Cambria Math" panose="02040503050406030204" pitchFamily="18" charset="0"/>
                          </a:rPr>
                          <m:t>1</m:t>
                        </m:r>
                      </m:num>
                      <m:den>
                        <m:sSup>
                          <m:sSupPr>
                            <m:ctrlPr>
                              <a:rPr lang="en-GB" sz="2400" i="1">
                                <a:latin typeface="Cambria Math" panose="02040503050406030204" pitchFamily="18" charset="0"/>
                              </a:rPr>
                            </m:ctrlPr>
                          </m:sSupPr>
                          <m:e>
                            <m:d>
                              <m:dPr>
                                <m:ctrlPr>
                                  <a:rPr lang="en-GB" sz="2400" i="1">
                                    <a:latin typeface="Cambria Math" panose="02040503050406030204" pitchFamily="18" charset="0"/>
                                  </a:rPr>
                                </m:ctrlPr>
                              </m:dPr>
                              <m:e>
                                <m:f>
                                  <m:fPr>
                                    <m:ctrlPr>
                                      <a:rPr lang="en-GB" sz="2400" i="1">
                                        <a:latin typeface="Cambria Math" panose="02040503050406030204" pitchFamily="18" charset="0"/>
                                      </a:rPr>
                                    </m:ctrlPr>
                                  </m:fPr>
                                  <m:num>
                                    <m:r>
                                      <a:rPr lang="en-GB" sz="2400" i="1">
                                        <a:latin typeface="Cambria Math" panose="02040503050406030204" pitchFamily="18" charset="0"/>
                                      </a:rPr>
                                      <m:t>𝑇</m:t>
                                    </m:r>
                                  </m:num>
                                  <m:den>
                                    <m:r>
                                      <a:rPr lang="en-GB" sz="2400" i="1">
                                        <a:latin typeface="Cambria Math" panose="02040503050406030204" pitchFamily="18" charset="0"/>
                                      </a:rPr>
                                      <m:t>6</m:t>
                                    </m:r>
                                  </m:den>
                                </m:f>
                                <m:r>
                                  <a:rPr lang="en-GB" sz="2400" i="1">
                                    <a:latin typeface="Cambria Math" panose="02040503050406030204" pitchFamily="18" charset="0"/>
                                  </a:rPr>
                                  <m:t>𝑠</m:t>
                                </m:r>
                                <m:r>
                                  <a:rPr lang="en-GB" sz="2400" i="1">
                                    <a:latin typeface="Cambria Math" panose="02040503050406030204" pitchFamily="18" charset="0"/>
                                  </a:rPr>
                                  <m:t>+1</m:t>
                                </m:r>
                              </m:e>
                            </m:d>
                          </m:e>
                          <m:sup>
                            <m:r>
                              <a:rPr lang="en-GB" sz="2400" i="1">
                                <a:latin typeface="Cambria Math" panose="02040503050406030204" pitchFamily="18" charset="0"/>
                              </a:rPr>
                              <m:t>6</m:t>
                            </m:r>
                          </m:sup>
                        </m:sSup>
                      </m:den>
                    </m:f>
                  </m:oMath>
                </a14:m>
                <a:endParaRPr lang="en-GB" sz="2400" dirty="0"/>
              </a:p>
              <a:p>
                <a:pPr lvl="1">
                  <a:spcAft>
                    <a:spcPts val="0"/>
                  </a:spcAft>
                </a:pPr>
                <a14:m>
                  <m:oMath xmlns:m="http://schemas.openxmlformats.org/officeDocument/2006/math">
                    <m:r>
                      <a:rPr lang="en-GB" sz="2400" i="1">
                        <a:latin typeface="Cambria Math" panose="02040503050406030204" pitchFamily="18" charset="0"/>
                      </a:rPr>
                      <m:t>𝐺</m:t>
                    </m:r>
                    <m:r>
                      <a:rPr lang="en-GB" sz="2400" i="1">
                        <a:latin typeface="Cambria Math" panose="02040503050406030204" pitchFamily="18" charset="0"/>
                      </a:rPr>
                      <m:t>(</m:t>
                    </m:r>
                    <m:r>
                      <a:rPr lang="en-GB" sz="2400" i="1">
                        <a:latin typeface="Cambria Math" panose="02040503050406030204" pitchFamily="18" charset="0"/>
                      </a:rPr>
                      <m:t>𝑠</m:t>
                    </m:r>
                    <m:r>
                      <a:rPr lang="en-GB" sz="2400" i="1">
                        <a:latin typeface="Cambria Math" panose="02040503050406030204" pitchFamily="18" charset="0"/>
                      </a:rPr>
                      <m:t>)=</m:t>
                    </m:r>
                    <m:f>
                      <m:fPr>
                        <m:ctrlPr>
                          <a:rPr lang="en-GB" sz="2400" i="1">
                            <a:latin typeface="Cambria Math" panose="02040503050406030204" pitchFamily="18" charset="0"/>
                          </a:rPr>
                        </m:ctrlPr>
                      </m:fPr>
                      <m:num>
                        <m:r>
                          <a:rPr lang="en-GB" sz="2400" i="1">
                            <a:latin typeface="Cambria Math" panose="02040503050406030204" pitchFamily="18" charset="0"/>
                          </a:rPr>
                          <m:t>1</m:t>
                        </m:r>
                      </m:num>
                      <m:den>
                        <m:sSup>
                          <m:sSupPr>
                            <m:ctrlPr>
                              <a:rPr lang="en-GB" sz="2400" i="1">
                                <a:latin typeface="Cambria Math" panose="02040503050406030204" pitchFamily="18" charset="0"/>
                              </a:rPr>
                            </m:ctrlPr>
                          </m:sSupPr>
                          <m:e>
                            <m:d>
                              <m:dPr>
                                <m:ctrlPr>
                                  <a:rPr lang="en-GB" sz="2400" i="1">
                                    <a:latin typeface="Cambria Math" panose="02040503050406030204" pitchFamily="18" charset="0"/>
                                  </a:rPr>
                                </m:ctrlPr>
                              </m:dPr>
                              <m:e>
                                <m:f>
                                  <m:fPr>
                                    <m:ctrlPr>
                                      <a:rPr lang="en-GB" sz="2400" i="1">
                                        <a:latin typeface="Cambria Math" panose="02040503050406030204" pitchFamily="18" charset="0"/>
                                      </a:rPr>
                                    </m:ctrlPr>
                                  </m:fPr>
                                  <m:num>
                                    <m:r>
                                      <a:rPr lang="en-GB" sz="2400" i="1">
                                        <a:latin typeface="Cambria Math" panose="02040503050406030204" pitchFamily="18" charset="0"/>
                                      </a:rPr>
                                      <m:t>𝑇</m:t>
                                    </m:r>
                                  </m:num>
                                  <m:den>
                                    <m:r>
                                      <a:rPr lang="en-GB" sz="2400" i="1">
                                        <a:latin typeface="Cambria Math" panose="02040503050406030204" pitchFamily="18" charset="0"/>
                                      </a:rPr>
                                      <m:t>6</m:t>
                                    </m:r>
                                  </m:den>
                                </m:f>
                                <m:r>
                                  <a:rPr lang="en-GB" sz="2400" i="1">
                                    <a:latin typeface="Cambria Math" panose="02040503050406030204" pitchFamily="18" charset="0"/>
                                  </a:rPr>
                                  <m:t>𝑠</m:t>
                                </m:r>
                                <m:r>
                                  <a:rPr lang="en-GB" sz="2400" i="1">
                                    <a:latin typeface="Cambria Math" panose="02040503050406030204" pitchFamily="18" charset="0"/>
                                  </a:rPr>
                                  <m:t>+1</m:t>
                                </m:r>
                              </m:e>
                            </m:d>
                          </m:e>
                          <m:sup>
                            <m:r>
                              <a:rPr lang="en-GB" sz="2400" i="1">
                                <a:latin typeface="Cambria Math" panose="02040503050406030204" pitchFamily="18" charset="0"/>
                              </a:rPr>
                              <m:t>6</m:t>
                            </m:r>
                          </m:sup>
                        </m:sSup>
                      </m:den>
                    </m:f>
                    <m:f>
                      <m:fPr>
                        <m:ctrlPr>
                          <a:rPr lang="en-GB" sz="2400" i="1" smtClean="0">
                            <a:latin typeface="Cambria Math" panose="02040503050406030204" pitchFamily="18" charset="0"/>
                          </a:rPr>
                        </m:ctrlPr>
                      </m:fPr>
                      <m:num>
                        <m:r>
                          <a:rPr lang="en-GB" sz="2400" b="0" i="1" smtClean="0">
                            <a:latin typeface="Cambria Math" panose="02040503050406030204" pitchFamily="18" charset="0"/>
                          </a:rPr>
                          <m:t>1</m:t>
                        </m:r>
                      </m:num>
                      <m:den>
                        <m:r>
                          <a:rPr lang="en-GB" sz="2400" i="1" smtClean="0">
                            <a:latin typeface="Cambria Math" panose="02040503050406030204" pitchFamily="18" charset="0"/>
                            <a:ea typeface="Cambria Math" panose="02040503050406030204" pitchFamily="18" charset="0"/>
                          </a:rPr>
                          <m:t>𝜃</m:t>
                        </m:r>
                      </m:den>
                    </m:f>
                  </m:oMath>
                </a14:m>
                <a:endParaRPr lang="en-GB" sz="1800" dirty="0"/>
              </a:p>
              <a:p>
                <a:pPr lvl="1">
                  <a:spcAft>
                    <a:spcPts val="0"/>
                  </a:spcAft>
                </a:pPr>
                <a:r>
                  <a:rPr lang="en-GB" sz="1800" dirty="0"/>
                  <a:t>T = Tracking Error</a:t>
                </a:r>
              </a:p>
              <a:p>
                <a:pPr lvl="1">
                  <a:spcAft>
                    <a:spcPts val="0"/>
                  </a:spcAft>
                </a:pPr>
                <a14:m>
                  <m:oMath xmlns:m="http://schemas.openxmlformats.org/officeDocument/2006/math">
                    <m:r>
                      <a:rPr lang="en-GB" sz="1800" i="1" smtClean="0">
                        <a:latin typeface="Cambria Math" panose="02040503050406030204" pitchFamily="18" charset="0"/>
                        <a:ea typeface="Cambria Math" panose="02040503050406030204" pitchFamily="18" charset="0"/>
                      </a:rPr>
                      <m:t>𝜃</m:t>
                    </m:r>
                  </m:oMath>
                </a14:m>
                <a:r>
                  <a:rPr lang="en-GB" sz="1800" dirty="0"/>
                  <a:t> = Empirical Parameter</a:t>
                </a:r>
              </a:p>
              <a:p>
                <a:pPr lvl="1">
                  <a:spcAft>
                    <a:spcPts val="0"/>
                  </a:spcAft>
                </a:pPr>
                <a14:m>
                  <m:oMath xmlns:m="http://schemas.openxmlformats.org/officeDocument/2006/math">
                    <m:r>
                      <a:rPr lang="en-GB" sz="1800" b="0" i="1" smtClean="0">
                        <a:latin typeface="Cambria Math" panose="02040503050406030204" pitchFamily="18" charset="0"/>
                      </a:rPr>
                      <m:t>𝑥</m:t>
                    </m:r>
                    <m:d>
                      <m:dPr>
                        <m:ctrlPr>
                          <a:rPr lang="en-GB" sz="1800" b="0" i="1" smtClean="0">
                            <a:latin typeface="Cambria Math" panose="02040503050406030204" pitchFamily="18" charset="0"/>
                          </a:rPr>
                        </m:ctrlPr>
                      </m:dPr>
                      <m:e>
                        <m:r>
                          <a:rPr lang="en-GB" sz="1800" b="0" i="1" smtClean="0">
                            <a:latin typeface="Cambria Math" panose="02040503050406030204" pitchFamily="18" charset="0"/>
                          </a:rPr>
                          <m:t>𝑠</m:t>
                        </m:r>
                      </m:e>
                    </m:d>
                    <m:r>
                      <a:rPr lang="en-GB" sz="1800" b="0" i="1" smtClean="0">
                        <a:latin typeface="Cambria Math" panose="02040503050406030204" pitchFamily="18" charset="0"/>
                      </a:rPr>
                      <m:t>=</m:t>
                    </m:r>
                    <m:r>
                      <a:rPr lang="en-GB" sz="1800" b="0" i="1" smtClean="0">
                        <a:latin typeface="Cambria Math" panose="02040503050406030204" pitchFamily="18" charset="0"/>
                      </a:rPr>
                      <m:t>𝐺</m:t>
                    </m:r>
                    <m:d>
                      <m:dPr>
                        <m:ctrlPr>
                          <a:rPr lang="en-GB" sz="1800" b="0" i="1" smtClean="0">
                            <a:latin typeface="Cambria Math" panose="02040503050406030204" pitchFamily="18" charset="0"/>
                          </a:rPr>
                        </m:ctrlPr>
                      </m:dPr>
                      <m:e>
                        <m:r>
                          <a:rPr lang="en-GB" sz="1800" b="0" i="1" smtClean="0">
                            <a:latin typeface="Cambria Math" panose="02040503050406030204" pitchFamily="18" charset="0"/>
                          </a:rPr>
                          <m:t>𝑠</m:t>
                        </m:r>
                      </m:e>
                    </m:d>
                    <m:r>
                      <a:rPr lang="en-GB" sz="1800" b="0" i="1" smtClean="0">
                        <a:latin typeface="Cambria Math" panose="02040503050406030204" pitchFamily="18" charset="0"/>
                        <a:ea typeface="Cambria Math" panose="02040503050406030204" pitchFamily="18" charset="0"/>
                      </a:rPr>
                      <m:t>×</m:t>
                    </m:r>
                    <m:r>
                      <a:rPr lang="en-GB" sz="1800" b="0" i="1" smtClean="0">
                        <a:latin typeface="Cambria Math" panose="02040503050406030204" pitchFamily="18" charset="0"/>
                      </a:rPr>
                      <m:t> </m:t>
                    </m:r>
                    <m:r>
                      <a:rPr lang="en-GB" sz="1800" b="0" i="1" smtClean="0">
                        <a:latin typeface="Cambria Math" panose="02040503050406030204" pitchFamily="18" charset="0"/>
                      </a:rPr>
                      <m:t>𝐼𝑛𝑝𝑢𝑡</m:t>
                    </m:r>
                    <m:r>
                      <a:rPr lang="en-GB" sz="1800" b="0" i="1" smtClean="0">
                        <a:latin typeface="Cambria Math" panose="02040503050406030204" pitchFamily="18" charset="0"/>
                      </a:rPr>
                      <m:t>(</m:t>
                    </m:r>
                    <m:r>
                      <a:rPr lang="en-GB" sz="1800" b="0" i="1" smtClean="0">
                        <a:latin typeface="Cambria Math" panose="02040503050406030204" pitchFamily="18" charset="0"/>
                      </a:rPr>
                      <m:t>𝑠</m:t>
                    </m:r>
                    <m:r>
                      <a:rPr lang="en-GB" sz="1800" b="0" i="1" smtClean="0">
                        <a:latin typeface="Cambria Math" panose="02040503050406030204" pitchFamily="18" charset="0"/>
                      </a:rPr>
                      <m:t>)</m:t>
                    </m:r>
                  </m:oMath>
                </a14:m>
                <a:endParaRPr lang="en-GB" sz="1800" dirty="0"/>
              </a:p>
              <a:p>
                <a:pPr lvl="1">
                  <a:spcAft>
                    <a:spcPts val="0"/>
                  </a:spcAft>
                </a:pPr>
                <a:r>
                  <a:rPr lang="en-GB" sz="1800" dirty="0"/>
                  <a:t>Requires complex inverse Laplace transform into time domain.</a:t>
                </a:r>
              </a:p>
            </p:txBody>
          </p:sp>
        </mc:Choice>
        <mc:Fallback xmlns="">
          <p:sp>
            <p:nvSpPr>
              <p:cNvPr id="5" name="ee4pContent1">
                <a:extLst>
                  <a:ext uri="{FF2B5EF4-FFF2-40B4-BE49-F238E27FC236}">
                    <a16:creationId xmlns:a16="http://schemas.microsoft.com/office/drawing/2014/main" id="{B8D304AA-FC13-255E-AEE0-1C4D09970C5F}"/>
                  </a:ext>
                </a:extLst>
              </p:cNvPr>
              <p:cNvSpPr txBox="1">
                <a:spLocks noRot="1" noChangeAspect="1" noMove="1" noResize="1" noEditPoints="1" noAdjustHandles="1" noChangeArrowheads="1" noChangeShapeType="1" noTextEdit="1"/>
              </p:cNvSpPr>
              <p:nvPr>
                <p:custDataLst>
                  <p:tags r:id="rId12"/>
                </p:custDataLst>
              </p:nvPr>
            </p:nvSpPr>
            <p:spPr>
              <a:xfrm>
                <a:off x="425458" y="1671404"/>
                <a:ext cx="4420020" cy="4613018"/>
              </a:xfrm>
              <a:prstGeom prst="rect">
                <a:avLst/>
              </a:prstGeom>
              <a:blipFill>
                <a:blip r:embed="rId13"/>
                <a:stretch>
                  <a:fillRect l="-825" r="-1926"/>
                </a:stretch>
              </a:blipFill>
              <a:ln w="9525" cmpd="sng">
                <a:solidFill>
                  <a:schemeClr val="accent1">
                    <a:lumMod val="100000"/>
                  </a:schemeClr>
                </a:solidFill>
                <a:prstDash val="soli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6" name="ee4pContent1">
                <a:extLst>
                  <a:ext uri="{FF2B5EF4-FFF2-40B4-BE49-F238E27FC236}">
                    <a16:creationId xmlns:a16="http://schemas.microsoft.com/office/drawing/2014/main" id="{693C8E67-0FC8-2670-5D48-11943228FA42}"/>
                  </a:ext>
                </a:extLst>
              </p:cNvPr>
              <p:cNvSpPr txBox="1">
                <a:spLocks/>
              </p:cNvSpPr>
              <p:nvPr>
                <p:custDataLst>
                  <p:tags r:id="rId2"/>
                </p:custDataLst>
              </p:nvPr>
            </p:nvSpPr>
            <p:spPr>
              <a:xfrm>
                <a:off x="7466255" y="1671404"/>
                <a:ext cx="4432374" cy="461301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Convolution is simpler than inverse Laplace transform</a:t>
                </a:r>
              </a:p>
              <a:p>
                <a:pPr lvl="1">
                  <a:spcAft>
                    <a:spcPts val="0"/>
                  </a:spcAft>
                </a:pPr>
                <a:r>
                  <a:rPr lang="en-GB" sz="1800" dirty="0"/>
                  <a:t>Acceleration can only be calculated in the time domain</a:t>
                </a:r>
                <a:endParaRPr lang="en-GB" sz="1800" b="0" i="1" dirty="0">
                  <a:latin typeface="Cambria Math" panose="02040503050406030204" pitchFamily="18" charset="0"/>
                </a:endParaRPr>
              </a:p>
              <a:p>
                <a:pPr lvl="1">
                  <a:spcAft>
                    <a:spcPts val="0"/>
                  </a:spcAft>
                </a:pPr>
                <a14:m>
                  <m:oMath xmlns:m="http://schemas.openxmlformats.org/officeDocument/2006/math">
                    <m:r>
                      <a:rPr lang="en-GB" sz="2000" b="0" i="1" smtClean="0">
                        <a:latin typeface="Cambria Math" panose="02040503050406030204" pitchFamily="18" charset="0"/>
                      </a:rPr>
                      <m:t>𝐺</m:t>
                    </m:r>
                    <m:d>
                      <m:dPr>
                        <m:ctrlPr>
                          <a:rPr lang="en-GB" sz="2000" b="0" i="1" smtClean="0">
                            <a:latin typeface="Cambria Math" panose="02040503050406030204" pitchFamily="18" charset="0"/>
                          </a:rPr>
                        </m:ctrlPr>
                      </m:dPr>
                      <m:e>
                        <m:r>
                          <a:rPr lang="en-GB" sz="2000" b="0" i="1" smtClean="0">
                            <a:latin typeface="Cambria Math" panose="02040503050406030204" pitchFamily="18" charset="0"/>
                          </a:rPr>
                          <m:t>𝑡</m:t>
                        </m:r>
                      </m:e>
                    </m:d>
                    <m:r>
                      <a:rPr lang="en-GB" sz="2000" b="0" i="1" smtClean="0">
                        <a:latin typeface="Cambria Math" panose="02040503050406030204" pitchFamily="18" charset="0"/>
                      </a:rPr>
                      <m:t>=</m:t>
                    </m:r>
                    <m:r>
                      <a:rPr lang="en-GB" sz="2000" b="0" i="1" smtClean="0">
                        <a:latin typeface="Cambria Math" panose="02040503050406030204" pitchFamily="18" charset="0"/>
                      </a:rPr>
                      <m:t>𝐴</m:t>
                    </m:r>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𝑡</m:t>
                        </m:r>
                      </m:e>
                      <m:sup>
                        <m:r>
                          <a:rPr lang="en-GB" sz="2000" b="0" i="1" smtClean="0">
                            <a:latin typeface="Cambria Math" panose="02040503050406030204" pitchFamily="18" charset="0"/>
                          </a:rPr>
                          <m:t>5</m:t>
                        </m:r>
                      </m:sup>
                    </m:sSup>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𝑒</m:t>
                        </m:r>
                      </m:e>
                      <m:sup>
                        <m:r>
                          <a:rPr lang="en-GB" sz="2000" b="0" i="1" smtClean="0">
                            <a:latin typeface="Cambria Math" panose="02040503050406030204" pitchFamily="18" charset="0"/>
                          </a:rPr>
                          <m:t>−</m:t>
                        </m:r>
                        <m:f>
                          <m:fPr>
                            <m:ctrlPr>
                              <a:rPr lang="en-GB" sz="2000" b="0" i="1" smtClean="0">
                                <a:latin typeface="Cambria Math" panose="02040503050406030204" pitchFamily="18" charset="0"/>
                              </a:rPr>
                            </m:ctrlPr>
                          </m:fPr>
                          <m:num>
                            <m:r>
                              <a:rPr lang="en-GB" sz="2000" b="0" i="1" smtClean="0">
                                <a:latin typeface="Cambria Math" panose="02040503050406030204" pitchFamily="18" charset="0"/>
                              </a:rPr>
                              <m:t>6</m:t>
                            </m:r>
                            <m:r>
                              <a:rPr lang="en-GB" sz="2000" b="0" i="1" smtClean="0">
                                <a:latin typeface="Cambria Math" panose="02040503050406030204" pitchFamily="18" charset="0"/>
                              </a:rPr>
                              <m:t>𝑡</m:t>
                            </m:r>
                          </m:num>
                          <m:den>
                            <m:r>
                              <a:rPr lang="en-GB" sz="2000" b="0" i="1" smtClean="0">
                                <a:latin typeface="Cambria Math" panose="02040503050406030204" pitchFamily="18" charset="0"/>
                              </a:rPr>
                              <m:t>𝑇</m:t>
                            </m:r>
                          </m:den>
                        </m:f>
                      </m:sup>
                    </m:sSup>
                  </m:oMath>
                </a14:m>
                <a:endParaRPr lang="en-GB" sz="2000" dirty="0"/>
              </a:p>
              <a:p>
                <a:pPr lvl="1">
                  <a:spcAft>
                    <a:spcPts val="0"/>
                  </a:spcAft>
                </a:pPr>
                <a14:m>
                  <m:oMath xmlns:m="http://schemas.openxmlformats.org/officeDocument/2006/math">
                    <m:r>
                      <a:rPr lang="en-GB" sz="2000" b="0" i="1" smtClean="0">
                        <a:latin typeface="Cambria Math" panose="02040503050406030204" pitchFamily="18" charset="0"/>
                      </a:rPr>
                      <m:t>𝐺</m:t>
                    </m:r>
                    <m:d>
                      <m:dPr>
                        <m:ctrlPr>
                          <a:rPr lang="en-GB" sz="2000" b="0" i="1" smtClean="0">
                            <a:latin typeface="Cambria Math" panose="02040503050406030204" pitchFamily="18" charset="0"/>
                          </a:rPr>
                        </m:ctrlPr>
                      </m:dPr>
                      <m:e>
                        <m:r>
                          <a:rPr lang="en-GB" sz="2000" b="0" i="1" smtClean="0">
                            <a:latin typeface="Cambria Math" panose="02040503050406030204" pitchFamily="18" charset="0"/>
                          </a:rPr>
                          <m:t>𝑡</m:t>
                        </m:r>
                      </m:e>
                    </m:d>
                    <m:r>
                      <a:rPr lang="en-GB" sz="2000" b="0" i="1" smtClean="0">
                        <a:latin typeface="Cambria Math" panose="02040503050406030204" pitchFamily="18" charset="0"/>
                      </a:rPr>
                      <m:t>=</m:t>
                    </m:r>
                    <m:r>
                      <a:rPr lang="en-GB" sz="2000" b="0" i="1" smtClean="0">
                        <a:latin typeface="Cambria Math" panose="02040503050406030204" pitchFamily="18" charset="0"/>
                      </a:rPr>
                      <m:t>𝐴</m:t>
                    </m:r>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𝑡</m:t>
                        </m:r>
                      </m:e>
                      <m:sup>
                        <m:r>
                          <a:rPr lang="en-GB" sz="2000" b="0" i="1" smtClean="0">
                            <a:latin typeface="Cambria Math" panose="02040503050406030204" pitchFamily="18" charset="0"/>
                          </a:rPr>
                          <m:t>3</m:t>
                        </m:r>
                      </m:sup>
                    </m:sSup>
                    <m:r>
                      <a:rPr lang="en-GB" sz="2000" b="0" i="1" smtClean="0">
                        <a:latin typeface="Cambria Math" panose="02040503050406030204" pitchFamily="18" charset="0"/>
                      </a:rPr>
                      <m:t>(9</m:t>
                    </m:r>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𝑡</m:t>
                        </m:r>
                      </m:e>
                      <m:sup>
                        <m:r>
                          <a:rPr lang="en-GB" sz="2000" b="0" i="1" smtClean="0">
                            <a:latin typeface="Cambria Math" panose="02040503050406030204" pitchFamily="18" charset="0"/>
                          </a:rPr>
                          <m:t>2</m:t>
                        </m:r>
                      </m:sup>
                    </m:sSup>
                    <m:r>
                      <a:rPr lang="en-GB" sz="2000" b="0" i="1" smtClean="0">
                        <a:latin typeface="Cambria Math" panose="02040503050406030204" pitchFamily="18" charset="0"/>
                      </a:rPr>
                      <m:t> −30</m:t>
                    </m:r>
                    <m:r>
                      <a:rPr lang="en-GB" sz="2000" b="0" i="1" smtClean="0">
                        <a:latin typeface="Cambria Math" panose="02040503050406030204" pitchFamily="18" charset="0"/>
                      </a:rPr>
                      <m:t>𝑡𝑇</m:t>
                    </m:r>
                    <m:r>
                      <a:rPr lang="en-GB" sz="2000" b="0" i="1" smtClean="0">
                        <a:latin typeface="Cambria Math" panose="02040503050406030204" pitchFamily="18" charset="0"/>
                      </a:rPr>
                      <m:t>)</m:t>
                    </m:r>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𝑒</m:t>
                        </m:r>
                      </m:e>
                      <m:sup>
                        <m:r>
                          <a:rPr lang="en-GB" sz="2000" b="0" i="1" smtClean="0">
                            <a:latin typeface="Cambria Math" panose="02040503050406030204" pitchFamily="18" charset="0"/>
                          </a:rPr>
                          <m:t>−</m:t>
                        </m:r>
                        <m:f>
                          <m:fPr>
                            <m:ctrlPr>
                              <a:rPr lang="en-GB" sz="2000" b="0" i="1" smtClean="0">
                                <a:latin typeface="Cambria Math" panose="02040503050406030204" pitchFamily="18" charset="0"/>
                              </a:rPr>
                            </m:ctrlPr>
                          </m:fPr>
                          <m:num>
                            <m:r>
                              <a:rPr lang="en-GB" sz="2000" b="0" i="1" smtClean="0">
                                <a:latin typeface="Cambria Math" panose="02040503050406030204" pitchFamily="18" charset="0"/>
                              </a:rPr>
                              <m:t>6</m:t>
                            </m:r>
                            <m:r>
                              <a:rPr lang="en-GB" sz="2000" b="0" i="1" smtClean="0">
                                <a:latin typeface="Cambria Math" panose="02040503050406030204" pitchFamily="18" charset="0"/>
                              </a:rPr>
                              <m:t>𝑡</m:t>
                            </m:r>
                          </m:num>
                          <m:den>
                            <m:r>
                              <a:rPr lang="en-GB" sz="2000" b="0" i="1" smtClean="0">
                                <a:latin typeface="Cambria Math" panose="02040503050406030204" pitchFamily="18" charset="0"/>
                              </a:rPr>
                              <m:t>𝑇</m:t>
                            </m:r>
                          </m:den>
                        </m:f>
                      </m:sup>
                    </m:sSup>
                  </m:oMath>
                </a14:m>
                <a:endParaRPr lang="en-GB" sz="1800" dirty="0"/>
              </a:p>
              <a:p>
                <a:pPr marL="0" lvl="1" indent="0">
                  <a:spcAft>
                    <a:spcPts val="0"/>
                  </a:spcAft>
                  <a:buNone/>
                </a:pPr>
                <a:endParaRPr lang="en-GB" sz="1800" dirty="0"/>
              </a:p>
              <a:p>
                <a:pPr lvl="1">
                  <a:spcAft>
                    <a:spcPts val="0"/>
                  </a:spcAft>
                </a:pPr>
                <a:r>
                  <a:rPr lang="en-GB" sz="1800" b="0" dirty="0">
                    <a:latin typeface="+mj-lt"/>
                  </a:rPr>
                  <a:t>Inverse </a:t>
                </a:r>
                <a:r>
                  <a:rPr lang="en-GB" sz="1800" b="0" dirty="0" err="1">
                    <a:latin typeface="+mj-lt"/>
                  </a:rPr>
                  <a:t>laplace</a:t>
                </a:r>
                <a:r>
                  <a:rPr lang="en-GB" sz="1800" b="0" dirty="0">
                    <a:latin typeface="+mj-lt"/>
                  </a:rPr>
                  <a:t> transforms of G(s), only valid for integer values of T and t &gt; 0.</a:t>
                </a:r>
              </a:p>
              <a:p>
                <a:pPr lvl="1">
                  <a:spcAft>
                    <a:spcPts val="0"/>
                  </a:spcAft>
                </a:pPr>
                <a:r>
                  <a:rPr lang="en-GB" sz="1800" dirty="0">
                    <a:latin typeface="+mj-lt"/>
                  </a:rPr>
                  <a:t>A = normalisation coefficient.</a:t>
                </a:r>
                <a:endParaRPr lang="en-GB" sz="1800" b="0" dirty="0">
                  <a:latin typeface="+mj-lt"/>
                </a:endParaRPr>
              </a:p>
              <a:p>
                <a:pPr lvl="1">
                  <a:spcAft>
                    <a:spcPts val="0"/>
                  </a:spcAft>
                </a:pPr>
                <a14:m>
                  <m:oMath xmlns:m="http://schemas.openxmlformats.org/officeDocument/2006/math">
                    <m:r>
                      <a:rPr lang="en-GB" sz="1800" b="0" i="1" smtClean="0">
                        <a:latin typeface="Cambria Math" panose="02040503050406030204" pitchFamily="18" charset="0"/>
                      </a:rPr>
                      <m:t>𝑥</m:t>
                    </m:r>
                    <m:d>
                      <m:dPr>
                        <m:ctrlPr>
                          <a:rPr lang="en-GB" sz="1800" b="0" i="1" smtClean="0">
                            <a:latin typeface="Cambria Math" panose="02040503050406030204" pitchFamily="18" charset="0"/>
                          </a:rPr>
                        </m:ctrlPr>
                      </m:dPr>
                      <m:e>
                        <m:r>
                          <a:rPr lang="en-GB" sz="1800" b="0" i="1" smtClean="0">
                            <a:latin typeface="Cambria Math" panose="02040503050406030204" pitchFamily="18" charset="0"/>
                          </a:rPr>
                          <m:t>𝑡</m:t>
                        </m:r>
                      </m:e>
                    </m:d>
                    <m:r>
                      <a:rPr lang="en-GB" sz="1800" b="0" i="1" smtClean="0">
                        <a:latin typeface="Cambria Math" panose="02040503050406030204" pitchFamily="18" charset="0"/>
                      </a:rPr>
                      <m:t>=</m:t>
                    </m:r>
                    <m:r>
                      <a:rPr lang="en-GB" sz="1800" b="0" i="1" smtClean="0">
                        <a:latin typeface="Cambria Math" panose="02040503050406030204" pitchFamily="18" charset="0"/>
                      </a:rPr>
                      <m:t>𝐺</m:t>
                    </m:r>
                    <m:d>
                      <m:dPr>
                        <m:ctrlPr>
                          <a:rPr lang="en-GB" sz="1800" b="0" i="1" smtClean="0">
                            <a:latin typeface="Cambria Math" panose="02040503050406030204" pitchFamily="18" charset="0"/>
                          </a:rPr>
                        </m:ctrlPr>
                      </m:dPr>
                      <m:e>
                        <m:r>
                          <a:rPr lang="en-GB" sz="1800" b="0" i="1" smtClean="0">
                            <a:latin typeface="Cambria Math" panose="02040503050406030204" pitchFamily="18" charset="0"/>
                          </a:rPr>
                          <m:t>𝑡</m:t>
                        </m:r>
                      </m:e>
                    </m:d>
                    <m:r>
                      <a:rPr lang="en-GB" sz="1800" b="0" i="1" smtClean="0">
                        <a:latin typeface="Cambria Math" panose="02040503050406030204" pitchFamily="18" charset="0"/>
                      </a:rPr>
                      <m:t>∗</m:t>
                    </m:r>
                    <m:r>
                      <a:rPr lang="en-GB" sz="1800" b="0" i="1" smtClean="0">
                        <a:latin typeface="Cambria Math" panose="02040503050406030204" pitchFamily="18" charset="0"/>
                      </a:rPr>
                      <m:t>𝐼𝑛𝑝𝑢𝑡</m:t>
                    </m:r>
                    <m:r>
                      <a:rPr lang="en-GB" sz="1800" b="0" i="1" smtClean="0">
                        <a:latin typeface="Cambria Math" panose="02040503050406030204" pitchFamily="18" charset="0"/>
                      </a:rPr>
                      <m:t>(</m:t>
                    </m:r>
                    <m:r>
                      <a:rPr lang="en-GB" sz="1800" b="0" i="1" smtClean="0">
                        <a:latin typeface="Cambria Math" panose="02040503050406030204" pitchFamily="18" charset="0"/>
                      </a:rPr>
                      <m:t>𝑡</m:t>
                    </m:r>
                    <m:r>
                      <a:rPr lang="en-GB" sz="1800" b="0" i="1" smtClean="0">
                        <a:latin typeface="Cambria Math" panose="02040503050406030204" pitchFamily="18" charset="0"/>
                      </a:rPr>
                      <m:t>)</m:t>
                    </m:r>
                  </m:oMath>
                </a14:m>
                <a:endParaRPr lang="en-GB" sz="1800" dirty="0"/>
              </a:p>
              <a:p>
                <a:pPr lvl="1">
                  <a:spcAft>
                    <a:spcPts val="0"/>
                  </a:spcAft>
                </a:pPr>
                <a:endParaRPr lang="en-GB" sz="1800" dirty="0"/>
              </a:p>
            </p:txBody>
          </p:sp>
        </mc:Choice>
        <mc:Fallback xmlns="">
          <p:sp>
            <p:nvSpPr>
              <p:cNvPr id="6" name="ee4pContent1">
                <a:extLst>
                  <a:ext uri="{FF2B5EF4-FFF2-40B4-BE49-F238E27FC236}">
                    <a16:creationId xmlns:a16="http://schemas.microsoft.com/office/drawing/2014/main" id="{693C8E67-0FC8-2670-5D48-11943228FA42}"/>
                  </a:ext>
                </a:extLst>
              </p:cNvPr>
              <p:cNvSpPr txBox="1">
                <a:spLocks noRot="1" noChangeAspect="1" noMove="1" noResize="1" noEditPoints="1" noAdjustHandles="1" noChangeArrowheads="1" noChangeShapeType="1" noTextEdit="1"/>
              </p:cNvSpPr>
              <p:nvPr>
                <p:custDataLst>
                  <p:tags r:id="rId14"/>
                </p:custDataLst>
              </p:nvPr>
            </p:nvSpPr>
            <p:spPr>
              <a:xfrm>
                <a:off x="7466255" y="1671404"/>
                <a:ext cx="4432374" cy="4613018"/>
              </a:xfrm>
              <a:prstGeom prst="rect">
                <a:avLst/>
              </a:prstGeom>
              <a:blipFill>
                <a:blip r:embed="rId15"/>
                <a:stretch>
                  <a:fillRect l="-823" r="-1097"/>
                </a:stretch>
              </a:blipFill>
              <a:ln w="9525" cmpd="sng">
                <a:solidFill>
                  <a:schemeClr val="accent1">
                    <a:lumMod val="100000"/>
                  </a:schemeClr>
                </a:solidFill>
                <a:prstDash val="solid"/>
              </a:ln>
            </p:spPr>
            <p:txBody>
              <a:bodyPr/>
              <a:lstStyle/>
              <a:p>
                <a:r>
                  <a:rPr lang="en-GB">
                    <a:noFill/>
                  </a:rPr>
                  <a:t> </a:t>
                </a:r>
              </a:p>
            </p:txBody>
          </p:sp>
        </mc:Fallback>
      </mc:AlternateContent>
      <p:sp>
        <p:nvSpPr>
          <p:cNvPr id="7" name="Richtungspfeil 1">
            <a:extLst>
              <a:ext uri="{FF2B5EF4-FFF2-40B4-BE49-F238E27FC236}">
                <a16:creationId xmlns:a16="http://schemas.microsoft.com/office/drawing/2014/main" id="{4CD2068B-7D63-28E3-0A9B-F9DE4E7B3876}"/>
              </a:ext>
            </a:extLst>
          </p:cNvPr>
          <p:cNvSpPr/>
          <p:nvPr>
            <p:custDataLst>
              <p:tags r:id="rId3"/>
            </p:custDataLst>
          </p:nvPr>
        </p:nvSpPr>
        <p:spPr bwMode="auto">
          <a:xfrm>
            <a:off x="4845479" y="3207688"/>
            <a:ext cx="2620777" cy="726310"/>
          </a:xfrm>
          <a:prstGeom prst="homePlate">
            <a:avLst>
              <a:gd name="adj" fmla="val 19554"/>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a:spcBef>
                <a:spcPct val="0"/>
              </a:spcBef>
              <a:spcAft>
                <a:spcPct val="0"/>
              </a:spcAft>
              <a:buClrTx/>
            </a:pPr>
            <a:r>
              <a:rPr lang="en-GB" dirty="0">
                <a:solidFill>
                  <a:schemeClr val="bg1"/>
                </a:solidFill>
                <a:latin typeface="Arial" panose="020B0604020202020204" pitchFamily="34" charset="0"/>
              </a:rPr>
              <a:t>Multiplication -&gt; Convolution</a:t>
            </a:r>
          </a:p>
        </p:txBody>
      </p:sp>
      <p:sp>
        <p:nvSpPr>
          <p:cNvPr id="9" name="ee4pHeader1">
            <a:extLst>
              <a:ext uri="{FF2B5EF4-FFF2-40B4-BE49-F238E27FC236}">
                <a16:creationId xmlns:a16="http://schemas.microsoft.com/office/drawing/2014/main" id="{26C8BC92-8937-6010-B0C8-ACDD0F53C843}"/>
              </a:ext>
            </a:extLst>
          </p:cNvPr>
          <p:cNvSpPr/>
          <p:nvPr>
            <p:custDataLst>
              <p:tags r:id="rId4"/>
            </p:custDataLst>
          </p:nvPr>
        </p:nvSpPr>
        <p:spPr bwMode="auto">
          <a:xfrm>
            <a:off x="425456" y="1193022"/>
            <a:ext cx="4420020" cy="47838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Bef>
                <a:spcPts val="0"/>
              </a:spcBef>
              <a:spcAft>
                <a:spcPct val="0"/>
              </a:spcAft>
            </a:pPr>
            <a:r>
              <a:rPr lang="en-GB" sz="2000" dirty="0">
                <a:solidFill>
                  <a:schemeClr val="bg1"/>
                </a:solidFill>
                <a:latin typeface="Arial" panose="020B0604020202020204" pitchFamily="34" charset="0"/>
              </a:rPr>
              <a:t>Laplace Domain</a:t>
            </a:r>
          </a:p>
        </p:txBody>
      </p:sp>
      <p:sp>
        <p:nvSpPr>
          <p:cNvPr id="10" name="ee4pHeader1">
            <a:extLst>
              <a:ext uri="{FF2B5EF4-FFF2-40B4-BE49-F238E27FC236}">
                <a16:creationId xmlns:a16="http://schemas.microsoft.com/office/drawing/2014/main" id="{62A0B439-C470-CDCC-E8A9-0D475BF6FFD8}"/>
              </a:ext>
            </a:extLst>
          </p:cNvPr>
          <p:cNvSpPr/>
          <p:nvPr>
            <p:custDataLst>
              <p:tags r:id="rId5"/>
            </p:custDataLst>
          </p:nvPr>
        </p:nvSpPr>
        <p:spPr bwMode="auto">
          <a:xfrm>
            <a:off x="7466252" y="1193022"/>
            <a:ext cx="4432374" cy="478382"/>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Bef>
                <a:spcPts val="0"/>
              </a:spcBef>
              <a:spcAft>
                <a:spcPct val="0"/>
              </a:spcAft>
            </a:pPr>
            <a:r>
              <a:rPr lang="en-GB" sz="2000" dirty="0">
                <a:solidFill>
                  <a:schemeClr val="bg1"/>
                </a:solidFill>
                <a:latin typeface="Arial" panose="020B0604020202020204" pitchFamily="34" charset="0"/>
              </a:rPr>
              <a:t>Time Domain</a:t>
            </a:r>
          </a:p>
        </p:txBody>
      </p:sp>
      <p:sp>
        <p:nvSpPr>
          <p:cNvPr id="8" name="ee4pContent1">
            <a:extLst>
              <a:ext uri="{FF2B5EF4-FFF2-40B4-BE49-F238E27FC236}">
                <a16:creationId xmlns:a16="http://schemas.microsoft.com/office/drawing/2014/main" id="{03CF73D9-ABD5-46CF-09B9-E6C86D52DB8D}"/>
              </a:ext>
            </a:extLst>
          </p:cNvPr>
          <p:cNvSpPr txBox="1">
            <a:spLocks/>
          </p:cNvSpPr>
          <p:nvPr>
            <p:custDataLst>
              <p:tags r:id="rId6"/>
            </p:custDataLst>
          </p:nvPr>
        </p:nvSpPr>
        <p:spPr>
          <a:xfrm>
            <a:off x="2877561" y="2630017"/>
            <a:ext cx="1967915" cy="369333"/>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spcAft>
                <a:spcPts val="0"/>
              </a:spcAft>
              <a:buNone/>
            </a:pPr>
            <a:r>
              <a:rPr lang="en-GB" b="1" dirty="0"/>
              <a:t>No Acceleration</a:t>
            </a:r>
          </a:p>
        </p:txBody>
      </p:sp>
      <p:sp>
        <p:nvSpPr>
          <p:cNvPr id="11" name="ee4pContent1">
            <a:extLst>
              <a:ext uri="{FF2B5EF4-FFF2-40B4-BE49-F238E27FC236}">
                <a16:creationId xmlns:a16="http://schemas.microsoft.com/office/drawing/2014/main" id="{A6A6A79D-3B93-1120-61D4-3B4F973EE269}"/>
              </a:ext>
            </a:extLst>
          </p:cNvPr>
          <p:cNvSpPr txBox="1">
            <a:spLocks/>
          </p:cNvSpPr>
          <p:nvPr>
            <p:custDataLst>
              <p:tags r:id="rId7"/>
            </p:custDataLst>
          </p:nvPr>
        </p:nvSpPr>
        <p:spPr>
          <a:xfrm>
            <a:off x="3046236" y="3564665"/>
            <a:ext cx="1543519" cy="369333"/>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spcAft>
                <a:spcPts val="0"/>
              </a:spcAft>
              <a:buNone/>
            </a:pPr>
            <a:r>
              <a:rPr lang="en-GB" b="1" dirty="0"/>
              <a:t>Acceleration</a:t>
            </a:r>
          </a:p>
        </p:txBody>
      </p:sp>
      <p:sp>
        <p:nvSpPr>
          <p:cNvPr id="12" name="ee4pContent1">
            <a:extLst>
              <a:ext uri="{FF2B5EF4-FFF2-40B4-BE49-F238E27FC236}">
                <a16:creationId xmlns:a16="http://schemas.microsoft.com/office/drawing/2014/main" id="{B6752427-4673-28DE-7040-32AA53DAB839}"/>
              </a:ext>
            </a:extLst>
          </p:cNvPr>
          <p:cNvSpPr txBox="1">
            <a:spLocks/>
          </p:cNvSpPr>
          <p:nvPr>
            <p:custDataLst>
              <p:tags r:id="rId8"/>
            </p:custDataLst>
          </p:nvPr>
        </p:nvSpPr>
        <p:spPr>
          <a:xfrm>
            <a:off x="9561398" y="3059667"/>
            <a:ext cx="1967915" cy="369333"/>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spcAft>
                <a:spcPts val="0"/>
              </a:spcAft>
              <a:buNone/>
            </a:pPr>
            <a:r>
              <a:rPr lang="en-GB" b="1" dirty="0"/>
              <a:t>No Acceleration</a:t>
            </a:r>
          </a:p>
        </p:txBody>
      </p:sp>
      <p:sp>
        <p:nvSpPr>
          <p:cNvPr id="13" name="ee4pContent1">
            <a:extLst>
              <a:ext uri="{FF2B5EF4-FFF2-40B4-BE49-F238E27FC236}">
                <a16:creationId xmlns:a16="http://schemas.microsoft.com/office/drawing/2014/main" id="{7643E744-6EFC-59B8-C8F8-ED4BB93AF404}"/>
              </a:ext>
            </a:extLst>
          </p:cNvPr>
          <p:cNvSpPr txBox="1">
            <a:spLocks/>
          </p:cNvSpPr>
          <p:nvPr>
            <p:custDataLst>
              <p:tags r:id="rId9"/>
            </p:custDataLst>
          </p:nvPr>
        </p:nvSpPr>
        <p:spPr>
          <a:xfrm>
            <a:off x="10289997" y="3989797"/>
            <a:ext cx="1470208" cy="369333"/>
          </a:xfrm>
          <a:prstGeom prst="rect">
            <a:avLst/>
          </a:prstGeom>
          <a:solidFill>
            <a:srgbClr val="FFFFFF">
              <a:lumMod val="100000"/>
            </a:srgbClr>
          </a:solidFill>
          <a:ln w="9525" cmpd="sng">
            <a:no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marL="0" lvl="1" indent="0">
              <a:spcAft>
                <a:spcPts val="0"/>
              </a:spcAft>
              <a:buNone/>
            </a:pPr>
            <a:r>
              <a:rPr lang="en-GB" b="1" dirty="0"/>
              <a:t>Acceleration</a:t>
            </a:r>
          </a:p>
        </p:txBody>
      </p:sp>
    </p:spTree>
    <p:extLst>
      <p:ext uri="{BB962C8B-B14F-4D97-AF65-F5344CB8AC3E}">
        <p14:creationId xmlns:p14="http://schemas.microsoft.com/office/powerpoint/2010/main" val="33718600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hlinkClick r:id="" action="ppaction://noaction"/>
            <a:extLst>
              <a:ext uri="{FF2B5EF4-FFF2-40B4-BE49-F238E27FC236}">
                <a16:creationId xmlns:a16="http://schemas.microsoft.com/office/drawing/2014/main" id="{F41215E4-1E7A-9D0D-229D-357CD8F5C09E}"/>
              </a:ext>
            </a:extLst>
          </p:cNvPr>
          <p:cNvSpPr/>
          <p:nvPr>
            <p:custDataLst>
              <p:tags r:id="rId2"/>
            </p:custDataLst>
          </p:nvPr>
        </p:nvSpPr>
        <p:spPr>
          <a:xfrm>
            <a:off x="889065" y="412621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Next Steps</a:t>
            </a:r>
          </a:p>
        </p:txBody>
      </p:sp>
      <p:sp>
        <p:nvSpPr>
          <p:cNvPr id="59" name="Rectangle 58">
            <a:hlinkClick r:id="" action="ppaction://noaction"/>
            <a:extLst>
              <a:ext uri="{FF2B5EF4-FFF2-40B4-BE49-F238E27FC236}">
                <a16:creationId xmlns:a16="http://schemas.microsoft.com/office/drawing/2014/main" id="{7C13FCFC-22AC-CC33-A67C-0462D0C0221C}"/>
              </a:ext>
            </a:extLst>
          </p:cNvPr>
          <p:cNvSpPr/>
          <p:nvPr>
            <p:custDataLst>
              <p:tags r:id="rId3"/>
            </p:custDataLst>
          </p:nvPr>
        </p:nvSpPr>
        <p:spPr>
          <a:xfrm>
            <a:off x="425455" y="412621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6</a:t>
            </a:r>
          </a:p>
        </p:txBody>
      </p:sp>
      <p:sp>
        <p:nvSpPr>
          <p:cNvPr id="58" name="Rectangle 57">
            <a:hlinkClick r:id="rId18" action="ppaction://hlinksldjump"/>
            <a:extLst>
              <a:ext uri="{FF2B5EF4-FFF2-40B4-BE49-F238E27FC236}">
                <a16:creationId xmlns:a16="http://schemas.microsoft.com/office/drawing/2014/main" id="{61C2B52B-87EF-06B3-F3FF-1903CCF95BDD}"/>
              </a:ext>
            </a:extLst>
          </p:cNvPr>
          <p:cNvSpPr/>
          <p:nvPr>
            <p:custDataLst>
              <p:tags r:id="rId4"/>
            </p:custDataLst>
          </p:nvPr>
        </p:nvSpPr>
        <p:spPr>
          <a:xfrm>
            <a:off x="889065" y="366260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Reinforcement Learning</a:t>
            </a:r>
          </a:p>
        </p:txBody>
      </p:sp>
      <p:sp>
        <p:nvSpPr>
          <p:cNvPr id="57" name="Rectangle 56">
            <a:hlinkClick r:id="rId18" action="ppaction://hlinksldjump"/>
            <a:extLst>
              <a:ext uri="{FF2B5EF4-FFF2-40B4-BE49-F238E27FC236}">
                <a16:creationId xmlns:a16="http://schemas.microsoft.com/office/drawing/2014/main" id="{C1A6A108-7B87-4D0F-240F-52EE451B5D30}"/>
              </a:ext>
            </a:extLst>
          </p:cNvPr>
          <p:cNvSpPr/>
          <p:nvPr>
            <p:custDataLst>
              <p:tags r:id="rId5"/>
            </p:custDataLst>
          </p:nvPr>
        </p:nvSpPr>
        <p:spPr>
          <a:xfrm>
            <a:off x="425455" y="366260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5</a:t>
            </a:r>
          </a:p>
        </p:txBody>
      </p:sp>
      <p:sp>
        <p:nvSpPr>
          <p:cNvPr id="56" name="Rectangle 55">
            <a:hlinkClick r:id="" action="ppaction://noaction"/>
            <a:extLst>
              <a:ext uri="{FF2B5EF4-FFF2-40B4-BE49-F238E27FC236}">
                <a16:creationId xmlns:a16="http://schemas.microsoft.com/office/drawing/2014/main" id="{253D2F6D-BDA9-A764-813B-6B55D8BF2F52}"/>
              </a:ext>
            </a:extLst>
          </p:cNvPr>
          <p:cNvSpPr/>
          <p:nvPr>
            <p:custDataLst>
              <p:tags r:id="rId6"/>
            </p:custDataLst>
          </p:nvPr>
        </p:nvSpPr>
        <p:spPr>
          <a:xfrm>
            <a:off x="889065" y="319899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Collocation Method</a:t>
            </a:r>
          </a:p>
        </p:txBody>
      </p:sp>
      <p:sp>
        <p:nvSpPr>
          <p:cNvPr id="55" name="Rectangle 54">
            <a:hlinkClick r:id="" action="ppaction://noaction"/>
            <a:extLst>
              <a:ext uri="{FF2B5EF4-FFF2-40B4-BE49-F238E27FC236}">
                <a16:creationId xmlns:a16="http://schemas.microsoft.com/office/drawing/2014/main" id="{D547A6B9-1AD5-007E-98D7-C659420AFF95}"/>
              </a:ext>
            </a:extLst>
          </p:cNvPr>
          <p:cNvSpPr/>
          <p:nvPr>
            <p:custDataLst>
              <p:tags r:id="rId7"/>
            </p:custDataLst>
          </p:nvPr>
        </p:nvSpPr>
        <p:spPr>
          <a:xfrm>
            <a:off x="425455" y="319899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4</a:t>
            </a:r>
          </a:p>
        </p:txBody>
      </p:sp>
      <p:sp>
        <p:nvSpPr>
          <p:cNvPr id="54" name="Rectangle 53">
            <a:extLst>
              <a:ext uri="{FF2B5EF4-FFF2-40B4-BE49-F238E27FC236}">
                <a16:creationId xmlns:a16="http://schemas.microsoft.com/office/drawing/2014/main" id="{5D2F6BFA-C55F-0D53-D8B7-927B4F10DB4D}"/>
              </a:ext>
            </a:extLst>
          </p:cNvPr>
          <p:cNvSpPr/>
          <p:nvPr>
            <p:custDataLst>
              <p:tags r:id="rId8"/>
            </p:custDataLst>
          </p:nvPr>
        </p:nvSpPr>
        <p:spPr>
          <a:xfrm>
            <a:off x="889065" y="2735383"/>
            <a:ext cx="10871139" cy="400110"/>
          </a:xfrm>
          <a:prstGeom prst="rect">
            <a:avLst/>
          </a:prstGeom>
          <a:solidFill>
            <a:srgbClr val="D9D9D9"/>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endParaRPr lang="en-GB" sz="1600"/>
          </a:p>
        </p:txBody>
      </p:sp>
      <p:sp>
        <p:nvSpPr>
          <p:cNvPr id="53" name="Rectangle 52">
            <a:hlinkClick r:id="rId19" action="ppaction://hlinksldjump"/>
            <a:extLst>
              <a:ext uri="{FF2B5EF4-FFF2-40B4-BE49-F238E27FC236}">
                <a16:creationId xmlns:a16="http://schemas.microsoft.com/office/drawing/2014/main" id="{B5CB77A3-7401-8BEC-4D24-FCA198EE54D9}"/>
              </a:ext>
            </a:extLst>
          </p:cNvPr>
          <p:cNvSpPr/>
          <p:nvPr>
            <p:custDataLst>
              <p:tags r:id="rId9"/>
            </p:custDataLst>
          </p:nvPr>
        </p:nvSpPr>
        <p:spPr>
          <a:xfrm>
            <a:off x="889065" y="273538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Hamilton-Jacobi-Bellman Method</a:t>
            </a:r>
          </a:p>
        </p:txBody>
      </p:sp>
      <p:sp>
        <p:nvSpPr>
          <p:cNvPr id="52" name="Rectangle 51">
            <a:hlinkClick r:id="rId19" action="ppaction://hlinksldjump"/>
            <a:extLst>
              <a:ext uri="{FF2B5EF4-FFF2-40B4-BE49-F238E27FC236}">
                <a16:creationId xmlns:a16="http://schemas.microsoft.com/office/drawing/2014/main" id="{E6FBBB27-10AB-0F70-6CFA-5A370EFDC65D}"/>
              </a:ext>
            </a:extLst>
          </p:cNvPr>
          <p:cNvSpPr/>
          <p:nvPr>
            <p:custDataLst>
              <p:tags r:id="rId10"/>
            </p:custDataLst>
          </p:nvPr>
        </p:nvSpPr>
        <p:spPr>
          <a:xfrm>
            <a:off x="425455" y="273538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3</a:t>
            </a:r>
          </a:p>
        </p:txBody>
      </p:sp>
      <p:sp>
        <p:nvSpPr>
          <p:cNvPr id="51" name="Rectangle 50">
            <a:hlinkClick r:id="" action="ppaction://noaction"/>
            <a:extLst>
              <a:ext uri="{FF2B5EF4-FFF2-40B4-BE49-F238E27FC236}">
                <a16:creationId xmlns:a16="http://schemas.microsoft.com/office/drawing/2014/main" id="{310D60FD-1D78-2C35-16A5-8AAD7A6B0856}"/>
              </a:ext>
            </a:extLst>
          </p:cNvPr>
          <p:cNvSpPr/>
          <p:nvPr>
            <p:custDataLst>
              <p:tags r:id="rId11"/>
            </p:custDataLst>
          </p:nvPr>
        </p:nvSpPr>
        <p:spPr>
          <a:xfrm>
            <a:off x="889065" y="227177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Requirements and Existing Model</a:t>
            </a:r>
          </a:p>
        </p:txBody>
      </p:sp>
      <p:sp>
        <p:nvSpPr>
          <p:cNvPr id="50" name="Rectangle 49">
            <a:hlinkClick r:id="" action="ppaction://noaction"/>
            <a:extLst>
              <a:ext uri="{FF2B5EF4-FFF2-40B4-BE49-F238E27FC236}">
                <a16:creationId xmlns:a16="http://schemas.microsoft.com/office/drawing/2014/main" id="{44DFA919-E033-6F18-3672-680024B085C1}"/>
              </a:ext>
            </a:extLst>
          </p:cNvPr>
          <p:cNvSpPr/>
          <p:nvPr>
            <p:custDataLst>
              <p:tags r:id="rId12"/>
            </p:custDataLst>
          </p:nvPr>
        </p:nvSpPr>
        <p:spPr>
          <a:xfrm>
            <a:off x="425455" y="227177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2</a:t>
            </a:r>
          </a:p>
        </p:txBody>
      </p:sp>
      <p:sp>
        <p:nvSpPr>
          <p:cNvPr id="49" name="Rectangle 48">
            <a:hlinkClick r:id="rId20" action="ppaction://hlinksldjump"/>
            <a:extLst>
              <a:ext uri="{FF2B5EF4-FFF2-40B4-BE49-F238E27FC236}">
                <a16:creationId xmlns:a16="http://schemas.microsoft.com/office/drawing/2014/main" id="{61339BEE-99FE-A20D-BC64-D4EDAA4B92F1}"/>
              </a:ext>
            </a:extLst>
          </p:cNvPr>
          <p:cNvSpPr/>
          <p:nvPr>
            <p:custDataLst>
              <p:tags r:id="rId13"/>
            </p:custDataLst>
          </p:nvPr>
        </p:nvSpPr>
        <p:spPr>
          <a:xfrm>
            <a:off x="889065" y="1808163"/>
            <a:ext cx="3372718" cy="400110"/>
          </a:xfrm>
          <a:prstGeom prst="rect">
            <a:avLst/>
          </a:prstGeom>
          <a:noFill/>
          <a:ln w="9525"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9525" cap="flat" cmpd="sng" algn="ctr">
                <a:solidFill>
                  <a:schemeClr val="bg1">
                    <a:lumMod val="65000"/>
                  </a:schemeClr>
                </a:solidFill>
                <a:prstDash val="solid"/>
              </a14:hiddenLine>
            </a:ext>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r>
              <a:rPr lang="en-GB" sz="1600" b="1"/>
              <a:t>Background</a:t>
            </a:r>
          </a:p>
        </p:txBody>
      </p:sp>
      <p:sp>
        <p:nvSpPr>
          <p:cNvPr id="48" name="Rectangle 47">
            <a:hlinkClick r:id="rId20" action="ppaction://hlinksldjump"/>
            <a:extLst>
              <a:ext uri="{FF2B5EF4-FFF2-40B4-BE49-F238E27FC236}">
                <a16:creationId xmlns:a16="http://schemas.microsoft.com/office/drawing/2014/main" id="{169E7214-D804-ADDF-B900-9308FFC30AD6}"/>
              </a:ext>
            </a:extLst>
          </p:cNvPr>
          <p:cNvSpPr/>
          <p:nvPr>
            <p:custDataLst>
              <p:tags r:id="rId14"/>
            </p:custDataLst>
          </p:nvPr>
        </p:nvSpPr>
        <p:spPr>
          <a:xfrm>
            <a:off x="425455" y="1808163"/>
            <a:ext cx="400110" cy="400110"/>
          </a:xfrm>
          <a:prstGeom prst="rect">
            <a:avLst/>
          </a:prstGeom>
          <a:solidFill>
            <a:schemeClr val="accent1"/>
          </a:solid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r>
              <a:rPr lang="en-GB" sz="1600" b="1">
                <a:solidFill>
                  <a:schemeClr val="bg1"/>
                </a:solidFill>
              </a:rPr>
              <a:t>1</a:t>
            </a:r>
          </a:p>
        </p:txBody>
      </p:sp>
      <p:sp>
        <p:nvSpPr>
          <p:cNvPr id="44" name="Title 43">
            <a:extLst>
              <a:ext uri="{FF2B5EF4-FFF2-40B4-BE49-F238E27FC236}">
                <a16:creationId xmlns:a16="http://schemas.microsoft.com/office/drawing/2014/main" id="{2CFCD3CD-C9ED-788A-9AD4-9719366DD5AC}"/>
              </a:ext>
            </a:extLst>
          </p:cNvPr>
          <p:cNvSpPr>
            <a:spLocks noGrp="1"/>
          </p:cNvSpPr>
          <p:nvPr>
            <p:ph type="title"/>
            <p:custDataLst>
              <p:tags r:id="rId15"/>
            </p:custDataLst>
          </p:nvPr>
        </p:nvSpPr>
        <p:spPr/>
        <p:txBody>
          <a:bodyPr/>
          <a:lstStyle/>
          <a:p>
            <a:r>
              <a:rPr lang="en-GB"/>
              <a:t>Agenda</a:t>
            </a:r>
          </a:p>
        </p:txBody>
      </p:sp>
      <p:sp>
        <p:nvSpPr>
          <p:cNvPr id="25" name="Slide Number Placeholder 24">
            <a:extLst>
              <a:ext uri="{FF2B5EF4-FFF2-40B4-BE49-F238E27FC236}">
                <a16:creationId xmlns:a16="http://schemas.microsoft.com/office/drawing/2014/main" id="{4A1ACAA7-8A1C-8279-113D-CE781551A2A5}"/>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7</a:t>
            </a:fld>
            <a:endParaRPr lang="en-US" dirty="0"/>
          </a:p>
        </p:txBody>
      </p:sp>
    </p:spTree>
    <p:custDataLst>
      <p:tags r:id="rId1"/>
    </p:custDataLst>
    <p:extLst>
      <p:ext uri="{BB962C8B-B14F-4D97-AF65-F5344CB8AC3E}">
        <p14:creationId xmlns:p14="http://schemas.microsoft.com/office/powerpoint/2010/main" val="26768397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FBE61-6946-350A-7BC9-5DB97DC1A6F9}"/>
              </a:ext>
            </a:extLst>
          </p:cNvPr>
          <p:cNvSpPr>
            <a:spLocks noGrp="1"/>
          </p:cNvSpPr>
          <p:nvPr>
            <p:ph type="title"/>
          </p:nvPr>
        </p:nvSpPr>
        <p:spPr/>
        <p:txBody>
          <a:bodyPr/>
          <a:lstStyle/>
          <a:p>
            <a:r>
              <a:rPr lang="en-GB" dirty="0"/>
              <a:t>Hamilton-Jacobi-Bellman-Equation [1]</a:t>
            </a:r>
          </a:p>
        </p:txBody>
      </p:sp>
      <p:sp>
        <p:nvSpPr>
          <p:cNvPr id="3" name="Text Placeholder 2">
            <a:extLst>
              <a:ext uri="{FF2B5EF4-FFF2-40B4-BE49-F238E27FC236}">
                <a16:creationId xmlns:a16="http://schemas.microsoft.com/office/drawing/2014/main" id="{E0B22F4B-EE83-BFD8-5E4A-F08737DEE6AC}"/>
              </a:ext>
            </a:extLst>
          </p:cNvPr>
          <p:cNvSpPr>
            <a:spLocks noGrp="1"/>
          </p:cNvSpPr>
          <p:nvPr>
            <p:ph type="body" sz="quarter" idx="13"/>
          </p:nvPr>
        </p:nvSpPr>
        <p:spPr>
          <a:xfrm>
            <a:off x="423305" y="2922176"/>
            <a:ext cx="9023348" cy="301504"/>
          </a:xfrm>
        </p:spPr>
        <p:txBody>
          <a:bodyPr/>
          <a:lstStyle/>
          <a:p>
            <a:r>
              <a:rPr lang="en-GB" sz="1800" b="1" dirty="0"/>
              <a:t>2 Fundamental Issues:</a:t>
            </a:r>
          </a:p>
        </p:txBody>
      </p:sp>
      <p:sp>
        <p:nvSpPr>
          <p:cNvPr id="4" name="Slide Number Placeholder 3">
            <a:extLst>
              <a:ext uri="{FF2B5EF4-FFF2-40B4-BE49-F238E27FC236}">
                <a16:creationId xmlns:a16="http://schemas.microsoft.com/office/drawing/2014/main" id="{A34321DB-A99A-6D73-6272-4742F12B9679}"/>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8</a:t>
            </a:fld>
            <a:endParaRPr lang="en-US" dirty="0"/>
          </a:p>
        </p:txBody>
      </p:sp>
      <p:sp>
        <p:nvSpPr>
          <p:cNvPr id="14" name="ee4pContent1">
            <a:extLst>
              <a:ext uri="{FF2B5EF4-FFF2-40B4-BE49-F238E27FC236}">
                <a16:creationId xmlns:a16="http://schemas.microsoft.com/office/drawing/2014/main" id="{91B880F0-7F51-E1B2-FA9A-D8F9F4D295F9}"/>
              </a:ext>
            </a:extLst>
          </p:cNvPr>
          <p:cNvSpPr txBox="1">
            <a:spLocks/>
          </p:cNvSpPr>
          <p:nvPr>
            <p:custDataLst>
              <p:tags r:id="rId1"/>
            </p:custDataLst>
          </p:nvPr>
        </p:nvSpPr>
        <p:spPr>
          <a:xfrm>
            <a:off x="1022140" y="3353990"/>
            <a:ext cx="10738065" cy="132558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a:t>The equation of motion depends on an integral over the trajectory, due to the convolution</a:t>
            </a:r>
          </a:p>
          <a:p>
            <a:pPr lvl="1">
              <a:spcAft>
                <a:spcPts val="0"/>
              </a:spcAft>
            </a:pPr>
            <a:r>
              <a:rPr lang="en-GB" sz="1800" dirty="0"/>
              <a:t>HJB solution returns function u = g(x, t) – for any position/time. However, the next steps must depend on previous steps, so this function does not have enough information.</a:t>
            </a:r>
          </a:p>
        </p:txBody>
      </p:sp>
      <p:sp>
        <p:nvSpPr>
          <p:cNvPr id="15" name="ee4pContent1">
            <a:extLst>
              <a:ext uri="{FF2B5EF4-FFF2-40B4-BE49-F238E27FC236}">
                <a16:creationId xmlns:a16="http://schemas.microsoft.com/office/drawing/2014/main" id="{22CF1268-F06D-8D2D-F0CB-B795F9D22D84}"/>
              </a:ext>
            </a:extLst>
          </p:cNvPr>
          <p:cNvSpPr txBox="1">
            <a:spLocks/>
          </p:cNvSpPr>
          <p:nvPr>
            <p:custDataLst>
              <p:tags r:id="rId2"/>
            </p:custDataLst>
          </p:nvPr>
        </p:nvSpPr>
        <p:spPr>
          <a:xfrm>
            <a:off x="1024290" y="4977358"/>
            <a:ext cx="10738065" cy="1439319"/>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1800" dirty="0" err="1"/>
              <a:t>Pontagyrin</a:t>
            </a:r>
            <a:r>
              <a:rPr lang="en-GB" sz="1800" dirty="0"/>
              <a:t> maximum principle is a related method which only finds open loop solutions -&gt; returns function u = g(t) – theoretically allowed</a:t>
            </a:r>
          </a:p>
          <a:p>
            <a:pPr lvl="1">
              <a:spcAft>
                <a:spcPts val="0"/>
              </a:spcAft>
            </a:pPr>
            <a:r>
              <a:rPr lang="en-GB" sz="1800" dirty="0"/>
              <a:t>Problem is least time minimisation – key parameter is integral limits which are fixed. </a:t>
            </a:r>
          </a:p>
          <a:p>
            <a:pPr lvl="1">
              <a:spcAft>
                <a:spcPts val="0"/>
              </a:spcAft>
            </a:pPr>
            <a:r>
              <a:rPr lang="en-GB" sz="1800" dirty="0"/>
              <a:t>Change of variables to position impossible due to integral equation of motion [2].</a:t>
            </a:r>
          </a:p>
        </p:txBody>
      </p:sp>
      <p:sp>
        <p:nvSpPr>
          <p:cNvPr id="16" name="ee4pHeader1">
            <a:extLst>
              <a:ext uri="{FF2B5EF4-FFF2-40B4-BE49-F238E27FC236}">
                <a16:creationId xmlns:a16="http://schemas.microsoft.com/office/drawing/2014/main" id="{78E34F67-57CD-B862-8368-05602C961054}"/>
              </a:ext>
            </a:extLst>
          </p:cNvPr>
          <p:cNvSpPr/>
          <p:nvPr>
            <p:custDataLst>
              <p:tags r:id="rId3"/>
            </p:custDataLst>
          </p:nvPr>
        </p:nvSpPr>
        <p:spPr bwMode="auto">
          <a:xfrm rot="16200000">
            <a:off x="59933" y="3717364"/>
            <a:ext cx="1325586" cy="598833"/>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Convolution</a:t>
            </a:r>
          </a:p>
        </p:txBody>
      </p:sp>
      <p:sp>
        <p:nvSpPr>
          <p:cNvPr id="17" name="ee4pHeader2">
            <a:extLst>
              <a:ext uri="{FF2B5EF4-FFF2-40B4-BE49-F238E27FC236}">
                <a16:creationId xmlns:a16="http://schemas.microsoft.com/office/drawing/2014/main" id="{8FE9847D-FEB2-6669-E6F2-A3D4AD957A3C}"/>
              </a:ext>
            </a:extLst>
          </p:cNvPr>
          <p:cNvSpPr/>
          <p:nvPr>
            <p:custDataLst>
              <p:tags r:id="rId4"/>
            </p:custDataLst>
          </p:nvPr>
        </p:nvSpPr>
        <p:spPr bwMode="auto">
          <a:xfrm rot="16200000">
            <a:off x="5213" y="5397598"/>
            <a:ext cx="1439320" cy="598833"/>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Least Time</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D1951B5B-BDAA-9919-468A-49AA91FAE7DB}"/>
                  </a:ext>
                </a:extLst>
              </p:cNvPr>
              <p:cNvSpPr txBox="1"/>
              <p:nvPr/>
            </p:nvSpPr>
            <p:spPr>
              <a:xfrm>
                <a:off x="2451847" y="1207015"/>
                <a:ext cx="7673788" cy="1779590"/>
              </a:xfrm>
              <a:prstGeom prst="rect">
                <a:avLst/>
              </a:prstGeom>
              <a:noFill/>
            </p:spPr>
            <p:txBody>
              <a:bodyPr wrap="square" lIns="0" tIns="0" rIns="0" bIns="0" rtlCol="0">
                <a:spAutoFit/>
              </a:bodyPr>
              <a:lstStyle/>
              <a:p>
                <a:pPr algn="ctr">
                  <a:lnSpc>
                    <a:spcPct val="114000"/>
                  </a:lnSpc>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𝐶</m:t>
                      </m:r>
                      <m:d>
                        <m:dPr>
                          <m:ctrlPr>
                            <a:rPr lang="en-GB" b="0" i="1" smtClean="0">
                              <a:latin typeface="Cambria Math" panose="02040503050406030204" pitchFamily="18" charset="0"/>
                            </a:rPr>
                          </m:ctrlPr>
                        </m:dPr>
                        <m:e>
                          <m:r>
                            <a:rPr lang="en-GB" b="0" i="1" smtClean="0">
                              <a:latin typeface="Cambria Math" panose="02040503050406030204" pitchFamily="18" charset="0"/>
                            </a:rPr>
                            <m:t>𝑥</m:t>
                          </m:r>
                          <m:r>
                            <a:rPr lang="en-GB" b="0" i="1" smtClean="0">
                              <a:latin typeface="Cambria Math" panose="02040503050406030204" pitchFamily="18" charset="0"/>
                            </a:rPr>
                            <m:t>, </m:t>
                          </m:r>
                          <m:r>
                            <a:rPr lang="en-GB" b="0" i="1" smtClean="0">
                              <a:latin typeface="Cambria Math" panose="02040503050406030204" pitchFamily="18" charset="0"/>
                            </a:rPr>
                            <m:t>𝑦</m:t>
                          </m:r>
                        </m:e>
                      </m:d>
                      <m:r>
                        <a:rPr lang="en-GB" b="0" i="1" smtClean="0">
                          <a:latin typeface="Cambria Math" panose="02040503050406030204" pitchFamily="18" charset="0"/>
                        </a:rPr>
                        <m:t>= </m:t>
                      </m:r>
                      <m:nary>
                        <m:naryPr>
                          <m:ctrlPr>
                            <a:rPr lang="en-GB" b="0" i="1" smtClean="0">
                              <a:latin typeface="Cambria Math" panose="02040503050406030204" pitchFamily="18" charset="0"/>
                            </a:rPr>
                          </m:ctrlPr>
                        </m:naryPr>
                        <m:sub>
                          <m:r>
                            <m:rPr>
                              <m:brk m:alnAt="23"/>
                            </m:rPr>
                            <a:rPr lang="en-GB" b="0" i="1" smtClean="0">
                              <a:latin typeface="Cambria Math" panose="02040503050406030204" pitchFamily="18" charset="0"/>
                            </a:rPr>
                            <m:t>0</m:t>
                          </m:r>
                        </m:sub>
                        <m:sup>
                          <m:r>
                            <a:rPr lang="en-GB" b="0" i="1" smtClean="0">
                              <a:latin typeface="Cambria Math" panose="02040503050406030204" pitchFamily="18" charset="0"/>
                            </a:rPr>
                            <m:t>𝑇</m:t>
                          </m:r>
                        </m:sup>
                        <m:e>
                          <m:r>
                            <a:rPr lang="en-GB" b="0" i="1" smtClean="0">
                              <a:latin typeface="Cambria Math" panose="02040503050406030204" pitchFamily="18" charset="0"/>
                            </a:rPr>
                            <m:t>1+</m:t>
                          </m:r>
                          <m:r>
                            <a:rPr lang="en-GB" b="0" i="1" smtClean="0">
                              <a:latin typeface="Cambria Math" panose="02040503050406030204" pitchFamily="18" charset="0"/>
                            </a:rPr>
                            <m:t>𝑓</m:t>
                          </m:r>
                          <m:r>
                            <a:rPr lang="en-GB" b="0" i="1" smtClean="0">
                              <a:latin typeface="Cambria Math" panose="02040503050406030204" pitchFamily="18" charset="0"/>
                            </a:rPr>
                            <m:t>(</m:t>
                          </m:r>
                          <m:r>
                            <a:rPr lang="en-GB" b="0" i="1" smtClean="0">
                              <a:latin typeface="Cambria Math" panose="02040503050406030204" pitchFamily="18" charset="0"/>
                            </a:rPr>
                            <m:t>𝑥</m:t>
                          </m:r>
                          <m:r>
                            <a:rPr lang="en-GB" b="0" i="1" smtClean="0">
                              <a:latin typeface="Cambria Math" panose="02040503050406030204" pitchFamily="18" charset="0"/>
                            </a:rPr>
                            <m:t>, </m:t>
                          </m:r>
                          <m:r>
                            <a:rPr lang="en-GB" b="0" i="1" smtClean="0">
                              <a:latin typeface="Cambria Math" panose="02040503050406030204" pitchFamily="18" charset="0"/>
                            </a:rPr>
                            <m:t>𝑦</m:t>
                          </m:r>
                          <m:r>
                            <a:rPr lang="en-GB" b="0" i="1" smtClean="0">
                              <a:latin typeface="Cambria Math" panose="02040503050406030204" pitchFamily="18" charset="0"/>
                            </a:rPr>
                            <m:t>)</m:t>
                          </m:r>
                        </m:e>
                      </m:nary>
                      <m:r>
                        <a:rPr lang="en-GB" b="0" i="1" smtClean="0">
                          <a:latin typeface="Cambria Math" panose="02040503050406030204" pitchFamily="18" charset="0"/>
                        </a:rPr>
                        <m:t>.</m:t>
                      </m:r>
                      <m:r>
                        <a:rPr lang="en-GB" b="0" i="1" smtClean="0">
                          <a:latin typeface="Cambria Math" panose="02040503050406030204" pitchFamily="18" charset="0"/>
                        </a:rPr>
                        <m:t>𝑑𝑡</m:t>
                      </m:r>
                    </m:oMath>
                  </m:oMathPara>
                </a14:m>
                <a:endParaRPr lang="en-GB" dirty="0">
                  <a:latin typeface="+mn-lt"/>
                </a:endParaRPr>
              </a:p>
              <a:p>
                <a:pPr algn="ctr">
                  <a:lnSpc>
                    <a:spcPct val="114000"/>
                  </a:lnSpc>
                </a:pPr>
                <a:r>
                  <a:rPr lang="en-GB" dirty="0">
                    <a:latin typeface="+mn-lt"/>
                  </a:rPr>
                  <a:t>Where </a:t>
                </a:r>
                <a14:m>
                  <m:oMath xmlns:m="http://schemas.openxmlformats.org/officeDocument/2006/math">
                    <m:r>
                      <a:rPr lang="en-GB" b="0" i="1" smtClean="0">
                        <a:latin typeface="Cambria Math" panose="02040503050406030204" pitchFamily="18" charset="0"/>
                      </a:rPr>
                      <m:t>𝑓</m:t>
                    </m:r>
                    <m:d>
                      <m:dPr>
                        <m:ctrlPr>
                          <a:rPr lang="en-GB" b="0" i="1" smtClean="0">
                            <a:latin typeface="Cambria Math" panose="02040503050406030204" pitchFamily="18" charset="0"/>
                          </a:rPr>
                        </m:ctrlPr>
                      </m:dPr>
                      <m:e>
                        <m:r>
                          <a:rPr lang="en-GB" b="0" i="1" smtClean="0">
                            <a:latin typeface="Cambria Math" panose="02040503050406030204" pitchFamily="18" charset="0"/>
                          </a:rPr>
                          <m:t>𝑥</m:t>
                        </m:r>
                        <m:r>
                          <a:rPr lang="en-GB" b="0" i="1" smtClean="0">
                            <a:latin typeface="Cambria Math" panose="02040503050406030204" pitchFamily="18" charset="0"/>
                          </a:rPr>
                          <m:t>, </m:t>
                        </m:r>
                        <m:r>
                          <a:rPr lang="en-GB" b="0" i="1" smtClean="0">
                            <a:latin typeface="Cambria Math" panose="02040503050406030204" pitchFamily="18" charset="0"/>
                          </a:rPr>
                          <m:t>𝑦</m:t>
                        </m:r>
                      </m:e>
                    </m:d>
                  </m:oMath>
                </a14:m>
                <a:r>
                  <a:rPr lang="en-GB" dirty="0">
                    <a:latin typeface="+mn-lt"/>
                  </a:rPr>
                  <a:t> is an error function which follows the path.</a:t>
                </a:r>
              </a:p>
              <a:p>
                <a:pPr algn="ctr">
                  <a:lnSpc>
                    <a:spcPct val="114000"/>
                  </a:lnSpc>
                </a:pPr>
                <a:r>
                  <a:rPr lang="en-GB" dirty="0">
                    <a:latin typeface="+mn-lt"/>
                  </a:rPr>
                  <a:t>Subject to eq. of motion: </a:t>
                </a:r>
                <a14:m>
                  <m:oMath xmlns:m="http://schemas.openxmlformats.org/officeDocument/2006/math">
                    <m:acc>
                      <m:accPr>
                        <m:chr m:val="̇"/>
                        <m:ctrlPr>
                          <a:rPr lang="en-GB" b="0" i="1" smtClean="0">
                            <a:latin typeface="Cambria Math" panose="02040503050406030204" pitchFamily="18" charset="0"/>
                          </a:rPr>
                        </m:ctrlPr>
                      </m:accPr>
                      <m:e>
                        <m:r>
                          <a:rPr lang="en-GB" b="0" i="1" smtClean="0">
                            <a:latin typeface="Cambria Math" panose="02040503050406030204" pitchFamily="18" charset="0"/>
                          </a:rPr>
                          <m:t>𝑥</m:t>
                        </m:r>
                      </m:e>
                    </m:acc>
                    <m:d>
                      <m:dPr>
                        <m:ctrlPr>
                          <a:rPr lang="en-GB" b="0" i="1" smtClean="0">
                            <a:latin typeface="Cambria Math" panose="02040503050406030204" pitchFamily="18" charset="0"/>
                          </a:rPr>
                        </m:ctrlPr>
                      </m:dPr>
                      <m:e>
                        <m:r>
                          <a:rPr lang="en-GB" b="0" i="1" smtClean="0">
                            <a:latin typeface="Cambria Math" panose="02040503050406030204" pitchFamily="18" charset="0"/>
                          </a:rPr>
                          <m:t>𝑡</m:t>
                        </m:r>
                      </m:e>
                    </m:d>
                    <m:r>
                      <a:rPr lang="en-GB" b="0" i="1" smtClean="0">
                        <a:latin typeface="Cambria Math" panose="02040503050406030204" pitchFamily="18" charset="0"/>
                      </a:rPr>
                      <m:t>= </m:t>
                    </m:r>
                    <m:f>
                      <m:fPr>
                        <m:ctrlPr>
                          <a:rPr lang="en-GB" b="0" i="1" smtClean="0">
                            <a:latin typeface="Cambria Math" panose="02040503050406030204" pitchFamily="18" charset="0"/>
                          </a:rPr>
                        </m:ctrlPr>
                      </m:fPr>
                      <m:num>
                        <m:r>
                          <a:rPr lang="en-GB" b="0" i="1" smtClean="0">
                            <a:latin typeface="Cambria Math" panose="02040503050406030204" pitchFamily="18" charset="0"/>
                          </a:rPr>
                          <m:t>𝜕</m:t>
                        </m:r>
                      </m:num>
                      <m:den>
                        <m:r>
                          <a:rPr lang="en-GB" b="0" i="1" smtClean="0">
                            <a:latin typeface="Cambria Math" panose="02040503050406030204" pitchFamily="18" charset="0"/>
                          </a:rPr>
                          <m:t>𝜕</m:t>
                        </m:r>
                        <m:r>
                          <a:rPr lang="en-GB" b="0" i="1" smtClean="0">
                            <a:latin typeface="Cambria Math" panose="02040503050406030204" pitchFamily="18" charset="0"/>
                          </a:rPr>
                          <m:t>𝑡</m:t>
                        </m:r>
                      </m:den>
                    </m:f>
                    <m:nary>
                      <m:naryPr>
                        <m:ctrlPr>
                          <a:rPr lang="en-GB" b="0" i="1" smtClean="0">
                            <a:latin typeface="Cambria Math" panose="02040503050406030204" pitchFamily="18" charset="0"/>
                          </a:rPr>
                        </m:ctrlPr>
                      </m:naryPr>
                      <m:sub>
                        <m:r>
                          <m:rPr>
                            <m:brk m:alnAt="23"/>
                          </m:rPr>
                          <a:rPr lang="en-GB" b="0" i="1" smtClean="0">
                            <a:latin typeface="Cambria Math" panose="02040503050406030204" pitchFamily="18" charset="0"/>
                          </a:rPr>
                          <m:t>0</m:t>
                        </m:r>
                      </m:sub>
                      <m:sup>
                        <m:r>
                          <a:rPr lang="en-GB" b="0" i="1" smtClean="0">
                            <a:latin typeface="Cambria Math" panose="02040503050406030204" pitchFamily="18" charset="0"/>
                          </a:rPr>
                          <m:t>𝑇</m:t>
                        </m:r>
                      </m:sup>
                      <m:e>
                        <m:r>
                          <a:rPr lang="en-GB" b="0" i="1" smtClean="0">
                            <a:latin typeface="Cambria Math" panose="02040503050406030204" pitchFamily="18" charset="0"/>
                          </a:rPr>
                          <m:t>𝑔</m:t>
                        </m:r>
                        <m:d>
                          <m:dPr>
                            <m:ctrlPr>
                              <a:rPr lang="en-GB" b="0" i="1" smtClean="0">
                                <a:latin typeface="Cambria Math" panose="02040503050406030204" pitchFamily="18" charset="0"/>
                              </a:rPr>
                            </m:ctrlPr>
                          </m:dPr>
                          <m:e>
                            <m:r>
                              <a:rPr lang="en-GB" b="0" i="1" smtClean="0">
                                <a:latin typeface="Cambria Math" panose="02040503050406030204" pitchFamily="18" charset="0"/>
                              </a:rPr>
                              <m:t>𝑡</m:t>
                            </m:r>
                            <m:r>
                              <a:rPr lang="en-GB" b="0" i="1" smtClean="0">
                                <a:latin typeface="Cambria Math" panose="02040503050406030204" pitchFamily="18" charset="0"/>
                              </a:rPr>
                              <m:t> −</m:t>
                            </m:r>
                            <m:r>
                              <a:rPr lang="en-GB" b="0" i="1" smtClean="0">
                                <a:latin typeface="Cambria Math" panose="02040503050406030204" pitchFamily="18" charset="0"/>
                                <a:ea typeface="Cambria Math" panose="02040503050406030204" pitchFamily="18" charset="0"/>
                              </a:rPr>
                              <m:t>𝜏</m:t>
                            </m:r>
                          </m:e>
                        </m:d>
                        <m:r>
                          <a:rPr lang="en-GB" b="0" i="1" smtClean="0">
                            <a:latin typeface="Cambria Math" panose="02040503050406030204" pitchFamily="18" charset="0"/>
                            <a:ea typeface="Cambria Math" panose="02040503050406030204" pitchFamily="18" charset="0"/>
                          </a:rPr>
                          <m:t>𝑢</m:t>
                        </m:r>
                        <m:d>
                          <m:dPr>
                            <m:ctrlPr>
                              <a:rPr lang="en-GB" b="0" i="1" smtClean="0">
                                <a:latin typeface="Cambria Math" panose="02040503050406030204" pitchFamily="18" charset="0"/>
                                <a:ea typeface="Cambria Math" panose="02040503050406030204" pitchFamily="18" charset="0"/>
                              </a:rPr>
                            </m:ctrlPr>
                          </m:dPr>
                          <m:e>
                            <m:r>
                              <a:rPr lang="en-GB" b="0" i="1" smtClean="0">
                                <a:latin typeface="Cambria Math" panose="02040503050406030204" pitchFamily="18" charset="0"/>
                                <a:ea typeface="Cambria Math" panose="02040503050406030204" pitchFamily="18" charset="0"/>
                              </a:rPr>
                              <m:t>𝜏</m:t>
                            </m:r>
                          </m:e>
                        </m:d>
                        <m:r>
                          <a:rPr lang="en-GB" b="0" i="1" smtClean="0">
                            <a:latin typeface="Cambria Math" panose="02040503050406030204" pitchFamily="18" charset="0"/>
                            <a:ea typeface="Cambria Math" panose="02040503050406030204" pitchFamily="18" charset="0"/>
                          </a:rPr>
                          <m:t>.</m:t>
                        </m:r>
                        <m:r>
                          <a:rPr lang="en-GB" b="0" i="1" smtClean="0">
                            <a:latin typeface="Cambria Math" panose="02040503050406030204" pitchFamily="18" charset="0"/>
                            <a:ea typeface="Cambria Math" panose="02040503050406030204" pitchFamily="18" charset="0"/>
                          </a:rPr>
                          <m:t>𝑑</m:t>
                        </m:r>
                        <m:r>
                          <a:rPr lang="en-GB" b="0" i="1" smtClean="0">
                            <a:latin typeface="Cambria Math" panose="02040503050406030204" pitchFamily="18" charset="0"/>
                            <a:ea typeface="Cambria Math" panose="02040503050406030204" pitchFamily="18" charset="0"/>
                          </a:rPr>
                          <m:t>𝜏</m:t>
                        </m:r>
                      </m:e>
                    </m:nary>
                  </m:oMath>
                </a14:m>
                <a:r>
                  <a:rPr lang="en-GB" dirty="0">
                    <a:latin typeface="+mn-lt"/>
                  </a:rPr>
                  <a:t> and velocity constraints</a:t>
                </a:r>
              </a:p>
            </p:txBody>
          </p:sp>
        </mc:Choice>
        <mc:Fallback xmlns="">
          <p:sp>
            <p:nvSpPr>
              <p:cNvPr id="5" name="TextBox 4">
                <a:extLst>
                  <a:ext uri="{FF2B5EF4-FFF2-40B4-BE49-F238E27FC236}">
                    <a16:creationId xmlns:a16="http://schemas.microsoft.com/office/drawing/2014/main" id="{D1951B5B-BDAA-9919-468A-49AA91FAE7DB}"/>
                  </a:ext>
                </a:extLst>
              </p:cNvPr>
              <p:cNvSpPr txBox="1">
                <a:spLocks noRot="1" noChangeAspect="1" noMove="1" noResize="1" noEditPoints="1" noAdjustHandles="1" noChangeArrowheads="1" noChangeShapeType="1" noTextEdit="1"/>
              </p:cNvSpPr>
              <p:nvPr/>
            </p:nvSpPr>
            <p:spPr>
              <a:xfrm>
                <a:off x="2451847" y="1207015"/>
                <a:ext cx="7673788" cy="1779590"/>
              </a:xfrm>
              <a:prstGeom prst="rect">
                <a:avLst/>
              </a:prstGeom>
              <a:blipFill>
                <a:blip r:embed="rId7"/>
                <a:stretch>
                  <a:fillRect b="-29452"/>
                </a:stretch>
              </a:blipFill>
            </p:spPr>
            <p:txBody>
              <a:bodyPr/>
              <a:lstStyle/>
              <a:p>
                <a:r>
                  <a:rPr lang="en-GB">
                    <a:noFill/>
                  </a:rPr>
                  <a:t> </a:t>
                </a:r>
              </a:p>
            </p:txBody>
          </p:sp>
        </mc:Fallback>
      </mc:AlternateContent>
      <p:sp>
        <p:nvSpPr>
          <p:cNvPr id="6" name="TextBox 5">
            <a:extLst>
              <a:ext uri="{FF2B5EF4-FFF2-40B4-BE49-F238E27FC236}">
                <a16:creationId xmlns:a16="http://schemas.microsoft.com/office/drawing/2014/main" id="{D8EFA48A-D50A-1DDF-DD85-EA1305DBF9FA}"/>
              </a:ext>
            </a:extLst>
          </p:cNvPr>
          <p:cNvSpPr txBox="1"/>
          <p:nvPr/>
        </p:nvSpPr>
        <p:spPr>
          <a:xfrm>
            <a:off x="609600" y="917575"/>
            <a:ext cx="11358282" cy="289438"/>
          </a:xfrm>
          <a:prstGeom prst="rect">
            <a:avLst/>
          </a:prstGeom>
          <a:noFill/>
        </p:spPr>
        <p:txBody>
          <a:bodyPr wrap="square" lIns="0" tIns="0" rIns="0" bIns="0" rtlCol="0">
            <a:spAutoFit/>
          </a:bodyPr>
          <a:lstStyle/>
          <a:p>
            <a:pPr>
              <a:lnSpc>
                <a:spcPct val="114000"/>
              </a:lnSpc>
            </a:pPr>
            <a:r>
              <a:rPr lang="en-GB" dirty="0">
                <a:latin typeface="+mn-lt"/>
              </a:rPr>
              <a:t>By solving a PDE, can find the closed loop (error correcting) optimal inputs to minimise the cost function.</a:t>
            </a:r>
          </a:p>
        </p:txBody>
      </p:sp>
      <mc:AlternateContent xmlns:mc="http://schemas.openxmlformats.org/markup-compatibility/2006" xmlns:p14="http://schemas.microsoft.com/office/powerpoint/2010/main">
        <mc:Choice Requires="p14">
          <p:contentPart p14:bwMode="auto" r:id="rId8">
            <p14:nvContentPartPr>
              <p14:cNvPr id="7" name="Ink 6">
                <a:extLst>
                  <a:ext uri="{FF2B5EF4-FFF2-40B4-BE49-F238E27FC236}">
                    <a16:creationId xmlns:a16="http://schemas.microsoft.com/office/drawing/2014/main" id="{229A004F-10AD-8707-0388-00A06F187DC0}"/>
                  </a:ext>
                </a:extLst>
              </p14:cNvPr>
              <p14:cNvContentPartPr/>
              <p14:nvPr/>
            </p14:nvContentPartPr>
            <p14:xfrm>
              <a:off x="-624938" y="-1223618"/>
              <a:ext cx="360" cy="360"/>
            </p14:xfrm>
          </p:contentPart>
        </mc:Choice>
        <mc:Fallback xmlns="">
          <p:pic>
            <p:nvPicPr>
              <p:cNvPr id="7" name="Ink 6">
                <a:extLst>
                  <a:ext uri="{FF2B5EF4-FFF2-40B4-BE49-F238E27FC236}">
                    <a16:creationId xmlns:a16="http://schemas.microsoft.com/office/drawing/2014/main" id="{229A004F-10AD-8707-0388-00A06F187DC0}"/>
                  </a:ext>
                </a:extLst>
              </p:cNvPr>
              <p:cNvPicPr/>
              <p:nvPr/>
            </p:nvPicPr>
            <p:blipFill>
              <a:blip r:embed="rId9"/>
              <a:stretch>
                <a:fillRect/>
              </a:stretch>
            </p:blipFill>
            <p:spPr>
              <a:xfrm>
                <a:off x="-631058" y="-1229738"/>
                <a:ext cx="12600" cy="12600"/>
              </a:xfrm>
              <a:prstGeom prst="rect">
                <a:avLst/>
              </a:prstGeom>
            </p:spPr>
          </p:pic>
        </mc:Fallback>
      </mc:AlternateContent>
    </p:spTree>
    <p:extLst>
      <p:ext uri="{BB962C8B-B14F-4D97-AF65-F5344CB8AC3E}">
        <p14:creationId xmlns:p14="http://schemas.microsoft.com/office/powerpoint/2010/main" val="19406128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9B233-770D-45D8-8268-A4B281EAF8D3}"/>
              </a:ext>
            </a:extLst>
          </p:cNvPr>
          <p:cNvSpPr>
            <a:spLocks noGrp="1"/>
          </p:cNvSpPr>
          <p:nvPr>
            <p:ph type="title"/>
          </p:nvPr>
        </p:nvSpPr>
        <p:spPr/>
        <p:txBody>
          <a:bodyPr/>
          <a:lstStyle/>
          <a:p>
            <a:r>
              <a:rPr lang="en-GB" dirty="0"/>
              <a:t>Collocation: Method [3]</a:t>
            </a:r>
          </a:p>
        </p:txBody>
      </p:sp>
      <p:sp>
        <p:nvSpPr>
          <p:cNvPr id="4" name="Slide Number Placeholder 3">
            <a:extLst>
              <a:ext uri="{FF2B5EF4-FFF2-40B4-BE49-F238E27FC236}">
                <a16:creationId xmlns:a16="http://schemas.microsoft.com/office/drawing/2014/main" id="{A35D16F5-2364-35B1-9698-400FCE69EAC4}"/>
              </a:ext>
            </a:extLst>
          </p:cNvPr>
          <p:cNvSpPr>
            <a:spLocks noGrp="1"/>
          </p:cNvSpPr>
          <p:nvPr>
            <p:ph type="sldNum" sz="quarter" idx="4"/>
          </p:nvPr>
        </p:nvSpPr>
        <p:spPr/>
        <p:txBody>
          <a:bodyPr/>
          <a:lstStyle/>
          <a:p>
            <a:pPr algn="r">
              <a:lnSpc>
                <a:spcPct val="110000"/>
              </a:lnSpc>
            </a:pPr>
            <a:fld id="{0150336B-E114-481A-A5C5-087F4C05B58E}" type="slidenum">
              <a:rPr lang="en-US" smtClean="0"/>
              <a:pPr algn="r">
                <a:lnSpc>
                  <a:spcPct val="110000"/>
                </a:lnSpc>
              </a:pPr>
              <a:t>9</a:t>
            </a:fld>
            <a:endParaRPr lang="en-US" dirty="0"/>
          </a:p>
        </p:txBody>
      </p:sp>
      <p:sp>
        <p:nvSpPr>
          <p:cNvPr id="8" name="Text Placeholder 2">
            <a:extLst>
              <a:ext uri="{FF2B5EF4-FFF2-40B4-BE49-F238E27FC236}">
                <a16:creationId xmlns:a16="http://schemas.microsoft.com/office/drawing/2014/main" id="{435ACBF2-AC6B-BEF7-AD8B-B7D807055EEF}"/>
              </a:ext>
            </a:extLst>
          </p:cNvPr>
          <p:cNvSpPr txBox="1">
            <a:spLocks/>
          </p:cNvSpPr>
          <p:nvPr/>
        </p:nvSpPr>
        <p:spPr>
          <a:xfrm>
            <a:off x="425455" y="4695802"/>
            <a:ext cx="9023348" cy="301504"/>
          </a:xfrm>
          <a:prstGeom prst="rect">
            <a:avLst/>
          </a:prstGeom>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lnSpc>
                <a:spcPct val="114000"/>
              </a:lnSpc>
              <a:spcBef>
                <a:spcPct val="0"/>
              </a:spcBef>
              <a:spcAft>
                <a:spcPct val="0"/>
              </a:spcAft>
              <a:defRPr lang="de-DE" sz="1600" kern="1200" baseline="0" noProof="0" dirty="0" smtClean="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b="1" dirty="0"/>
              <a:t>Fundamental Issue:</a:t>
            </a:r>
          </a:p>
        </p:txBody>
      </p:sp>
      <p:sp>
        <p:nvSpPr>
          <p:cNvPr id="9" name="Slide Number Placeholder 3">
            <a:extLst>
              <a:ext uri="{FF2B5EF4-FFF2-40B4-BE49-F238E27FC236}">
                <a16:creationId xmlns:a16="http://schemas.microsoft.com/office/drawing/2014/main" id="{68817808-2724-A13B-9639-65443FAFBAFA}"/>
              </a:ext>
            </a:extLst>
          </p:cNvPr>
          <p:cNvSpPr txBox="1">
            <a:spLocks/>
          </p:cNvSpPr>
          <p:nvPr/>
        </p:nvSpPr>
        <p:spPr>
          <a:xfrm>
            <a:off x="11298422" y="6586188"/>
            <a:ext cx="461783" cy="140488"/>
          </a:xfrm>
          <a:prstGeom prst="rect">
            <a:avLst/>
          </a:prstGeom>
          <a:noFill/>
        </p:spPr>
        <p:txBody>
          <a:bodyPr wrap="square" lIns="0" tIns="0" rIns="0" bIns="0" rtlCol="0">
            <a:spAutoFit/>
          </a:bodyPr>
          <a:lstStyle>
            <a:defPPr>
              <a:defRPr lang="de-DE"/>
            </a:defPPr>
            <a:lvl1pPr algn="l" rtl="0" fontAlgn="base">
              <a:spcBef>
                <a:spcPct val="0"/>
              </a:spcBef>
              <a:spcAft>
                <a:spcPct val="0"/>
              </a:spcAft>
              <a:defRPr lang="de-DE" sz="900" kern="1200" smtClean="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a:lnSpc>
                <a:spcPct val="110000"/>
              </a:lnSpc>
            </a:pPr>
            <a:fld id="{0150336B-E114-481A-A5C5-087F4C05B58E}" type="slidenum">
              <a:rPr lang="en-US" smtClean="0"/>
              <a:pPr algn="r">
                <a:lnSpc>
                  <a:spcPct val="110000"/>
                </a:lnSpc>
              </a:pPr>
              <a:t>9</a:t>
            </a:fld>
            <a:endParaRPr lang="en-US" dirty="0"/>
          </a:p>
        </p:txBody>
      </p:sp>
      <p:sp>
        <p:nvSpPr>
          <p:cNvPr id="11" name="ee4pContent1">
            <a:extLst>
              <a:ext uri="{FF2B5EF4-FFF2-40B4-BE49-F238E27FC236}">
                <a16:creationId xmlns:a16="http://schemas.microsoft.com/office/drawing/2014/main" id="{A252A2A8-E046-AE5B-8042-0DEFA1459F11}"/>
              </a:ext>
            </a:extLst>
          </p:cNvPr>
          <p:cNvSpPr txBox="1">
            <a:spLocks/>
          </p:cNvSpPr>
          <p:nvPr>
            <p:custDataLst>
              <p:tags r:id="rId1"/>
            </p:custDataLst>
          </p:nvPr>
        </p:nvSpPr>
        <p:spPr>
          <a:xfrm>
            <a:off x="1024290" y="5190565"/>
            <a:ext cx="10738065" cy="1226112"/>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2000" dirty="0"/>
              <a:t>Cannot set initial conditions – fixed by </a:t>
            </a:r>
            <a:r>
              <a:rPr lang="en-GB" sz="2000" dirty="0" err="1"/>
              <a:t>legendre</a:t>
            </a:r>
            <a:r>
              <a:rPr lang="en-GB" sz="2000" dirty="0"/>
              <a:t> polynomials</a:t>
            </a:r>
          </a:p>
          <a:p>
            <a:pPr lvl="1">
              <a:spcAft>
                <a:spcPts val="0"/>
              </a:spcAft>
            </a:pPr>
            <a:r>
              <a:rPr lang="en-GB" sz="2000" dirty="0"/>
              <a:t>Causes problems in following the path</a:t>
            </a:r>
          </a:p>
        </p:txBody>
      </p:sp>
      <p:sp>
        <p:nvSpPr>
          <p:cNvPr id="13" name="ee4pHeader2">
            <a:extLst>
              <a:ext uri="{FF2B5EF4-FFF2-40B4-BE49-F238E27FC236}">
                <a16:creationId xmlns:a16="http://schemas.microsoft.com/office/drawing/2014/main" id="{EC0FB9E8-EFFC-3462-45CC-84D0374DB06D}"/>
              </a:ext>
            </a:extLst>
          </p:cNvPr>
          <p:cNvSpPr/>
          <p:nvPr>
            <p:custDataLst>
              <p:tags r:id="rId2"/>
            </p:custDataLst>
          </p:nvPr>
        </p:nvSpPr>
        <p:spPr bwMode="auto">
          <a:xfrm rot="16200000">
            <a:off x="111816" y="5504202"/>
            <a:ext cx="1226113" cy="598833"/>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Bef>
                <a:spcPts val="0"/>
              </a:spcBef>
              <a:spcAft>
                <a:spcPct val="0"/>
              </a:spcAft>
            </a:pPr>
            <a:r>
              <a:rPr lang="en-GB" sz="1600" dirty="0">
                <a:solidFill>
                  <a:schemeClr val="bg1"/>
                </a:solidFill>
                <a:latin typeface="Arial" panose="020B0604020202020204" pitchFamily="34" charset="0"/>
              </a:rPr>
              <a:t>Initial conditions</a:t>
            </a: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25D4D764-3F7B-186E-C141-84F85FDC5A5D}"/>
                  </a:ext>
                </a:extLst>
              </p:cNvPr>
              <p:cNvSpPr txBox="1"/>
              <p:nvPr/>
            </p:nvSpPr>
            <p:spPr>
              <a:xfrm>
                <a:off x="1837765" y="1378293"/>
                <a:ext cx="8148917" cy="1441805"/>
              </a:xfrm>
              <a:prstGeom prst="rect">
                <a:avLst/>
              </a:prstGeom>
              <a:noFill/>
            </p:spPr>
            <p:txBody>
              <a:bodyPr wrap="square" lIns="0" tIns="0" rIns="0" bIns="0" rtlCol="0">
                <a:spAutoFit/>
              </a:bodyPr>
              <a:lstStyle/>
              <a:p>
                <a:pPr algn="ctr">
                  <a:lnSpc>
                    <a:spcPct val="114000"/>
                  </a:lnSpc>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𝐶</m:t>
                      </m:r>
                      <m:d>
                        <m:dPr>
                          <m:ctrlPr>
                            <a:rPr lang="en-GB" b="0" i="1" smtClean="0">
                              <a:latin typeface="Cambria Math" panose="02040503050406030204" pitchFamily="18" charset="0"/>
                            </a:rPr>
                          </m:ctrlPr>
                        </m:dPr>
                        <m:e>
                          <m:r>
                            <a:rPr lang="en-GB" b="0" i="1" smtClean="0">
                              <a:latin typeface="Cambria Math" panose="02040503050406030204" pitchFamily="18" charset="0"/>
                            </a:rPr>
                            <m:t>𝑥</m:t>
                          </m:r>
                          <m:r>
                            <a:rPr lang="en-GB" b="0" i="1" smtClean="0">
                              <a:latin typeface="Cambria Math" panose="02040503050406030204" pitchFamily="18" charset="0"/>
                            </a:rPr>
                            <m:t>, </m:t>
                          </m:r>
                          <m:r>
                            <a:rPr lang="en-GB" b="0" i="1" smtClean="0">
                              <a:latin typeface="Cambria Math" panose="02040503050406030204" pitchFamily="18" charset="0"/>
                            </a:rPr>
                            <m:t>𝑦</m:t>
                          </m:r>
                        </m:e>
                      </m:d>
                      <m:r>
                        <a:rPr lang="en-GB" b="0" i="1" smtClean="0">
                          <a:latin typeface="Cambria Math" panose="02040503050406030204" pitchFamily="18" charset="0"/>
                        </a:rPr>
                        <m:t>= </m:t>
                      </m:r>
                      <m:nary>
                        <m:naryPr>
                          <m:ctrlPr>
                            <a:rPr lang="en-GB" b="0" i="1" smtClean="0">
                              <a:latin typeface="Cambria Math" panose="02040503050406030204" pitchFamily="18" charset="0"/>
                            </a:rPr>
                          </m:ctrlPr>
                        </m:naryPr>
                        <m:sub>
                          <m:r>
                            <m:rPr>
                              <m:brk m:alnAt="23"/>
                            </m:rPr>
                            <a:rPr lang="en-GB" b="0" i="1" smtClean="0">
                              <a:latin typeface="Cambria Math" panose="02040503050406030204" pitchFamily="18" charset="0"/>
                            </a:rPr>
                            <m:t>0</m:t>
                          </m:r>
                        </m:sub>
                        <m:sup>
                          <m:r>
                            <a:rPr lang="en-GB" b="0" i="1" smtClean="0">
                              <a:latin typeface="Cambria Math" panose="02040503050406030204" pitchFamily="18" charset="0"/>
                            </a:rPr>
                            <m:t>𝑇</m:t>
                          </m:r>
                        </m:sup>
                        <m:e>
                          <m:r>
                            <a:rPr lang="en-GB" b="0" i="1" smtClean="0">
                              <a:latin typeface="Cambria Math" panose="02040503050406030204" pitchFamily="18" charset="0"/>
                            </a:rPr>
                            <m:t>1+</m:t>
                          </m:r>
                          <m:r>
                            <a:rPr lang="en-GB" b="0" i="1" smtClean="0">
                              <a:latin typeface="Cambria Math" panose="02040503050406030204" pitchFamily="18" charset="0"/>
                            </a:rPr>
                            <m:t>𝑓</m:t>
                          </m:r>
                          <m:d>
                            <m:dPr>
                              <m:ctrlPr>
                                <a:rPr lang="en-GB" b="0" i="1" smtClean="0">
                                  <a:latin typeface="Cambria Math" panose="02040503050406030204" pitchFamily="18" charset="0"/>
                                </a:rPr>
                              </m:ctrlPr>
                            </m:dPr>
                            <m:e>
                              <m:r>
                                <a:rPr lang="en-GB" b="0" i="1" smtClean="0">
                                  <a:latin typeface="Cambria Math" panose="02040503050406030204" pitchFamily="18" charset="0"/>
                                </a:rPr>
                                <m:t>𝑥</m:t>
                              </m:r>
                              <m:r>
                                <a:rPr lang="en-GB" b="0" i="1" smtClean="0">
                                  <a:latin typeface="Cambria Math" panose="02040503050406030204" pitchFamily="18" charset="0"/>
                                </a:rPr>
                                <m:t>, </m:t>
                              </m:r>
                              <m:r>
                                <a:rPr lang="en-GB" b="0" i="1" smtClean="0">
                                  <a:latin typeface="Cambria Math" panose="02040503050406030204" pitchFamily="18" charset="0"/>
                                </a:rPr>
                                <m:t>𝑦</m:t>
                              </m:r>
                            </m:e>
                          </m:d>
                          <m:r>
                            <a:rPr lang="en-GB" b="0" i="1" smtClean="0">
                              <a:latin typeface="Cambria Math" panose="02040503050406030204" pitchFamily="18" charset="0"/>
                            </a:rPr>
                            <m:t>+</m:t>
                          </m:r>
                          <m:r>
                            <a:rPr lang="en-GB" b="0" i="1" smtClean="0">
                              <a:latin typeface="Cambria Math" panose="02040503050406030204" pitchFamily="18" charset="0"/>
                            </a:rPr>
                            <m:t>𝑔</m:t>
                          </m:r>
                          <m:r>
                            <a:rPr lang="en-GB" b="0" i="1" smtClean="0">
                              <a:latin typeface="Cambria Math" panose="02040503050406030204" pitchFamily="18" charset="0"/>
                            </a:rPr>
                            <m:t>(</m:t>
                          </m:r>
                          <m:acc>
                            <m:accPr>
                              <m:chr m:val="̇"/>
                              <m:ctrlPr>
                                <a:rPr lang="en-GB" b="0" i="1" smtClean="0">
                                  <a:latin typeface="Cambria Math" panose="02040503050406030204" pitchFamily="18" charset="0"/>
                                </a:rPr>
                              </m:ctrlPr>
                            </m:accPr>
                            <m:e>
                              <m:r>
                                <a:rPr lang="en-GB" b="0" i="1" smtClean="0">
                                  <a:latin typeface="Cambria Math" panose="02040503050406030204" pitchFamily="18" charset="0"/>
                                </a:rPr>
                                <m:t>𝑥</m:t>
                              </m:r>
                            </m:e>
                          </m:acc>
                          <m:r>
                            <a:rPr lang="en-GB" b="0" i="1" smtClean="0">
                              <a:latin typeface="Cambria Math" panose="02040503050406030204" pitchFamily="18" charset="0"/>
                            </a:rPr>
                            <m:t>,</m:t>
                          </m:r>
                          <m:acc>
                            <m:accPr>
                              <m:chr m:val="̇"/>
                              <m:ctrlPr>
                                <a:rPr lang="en-GB" b="0" i="1" smtClean="0">
                                  <a:latin typeface="Cambria Math" panose="02040503050406030204" pitchFamily="18" charset="0"/>
                                </a:rPr>
                              </m:ctrlPr>
                            </m:accPr>
                            <m:e>
                              <m:r>
                                <a:rPr lang="en-GB" b="0" i="1" smtClean="0">
                                  <a:latin typeface="Cambria Math" panose="02040503050406030204" pitchFamily="18" charset="0"/>
                                </a:rPr>
                                <m:t>𝑦</m:t>
                              </m:r>
                            </m:e>
                          </m:acc>
                          <m:r>
                            <a:rPr lang="en-GB" b="0" i="1" smtClean="0">
                              <a:latin typeface="Cambria Math" panose="02040503050406030204" pitchFamily="18" charset="0"/>
                            </a:rPr>
                            <m:t>)</m:t>
                          </m:r>
                        </m:e>
                      </m:nary>
                      <m:r>
                        <a:rPr lang="en-GB" b="0" i="1" smtClean="0">
                          <a:latin typeface="Cambria Math" panose="02040503050406030204" pitchFamily="18" charset="0"/>
                        </a:rPr>
                        <m:t>.</m:t>
                      </m:r>
                      <m:r>
                        <a:rPr lang="en-GB" b="0" i="1" smtClean="0">
                          <a:latin typeface="Cambria Math" panose="02040503050406030204" pitchFamily="18" charset="0"/>
                        </a:rPr>
                        <m:t>𝑑𝑡</m:t>
                      </m:r>
                    </m:oMath>
                  </m:oMathPara>
                </a14:m>
                <a:endParaRPr lang="en-GB" dirty="0">
                  <a:latin typeface="+mn-lt"/>
                </a:endParaRPr>
              </a:p>
              <a:p>
                <a:pPr algn="ctr">
                  <a:lnSpc>
                    <a:spcPct val="114000"/>
                  </a:lnSpc>
                </a:pPr>
                <a:r>
                  <a:rPr lang="en-GB" dirty="0">
                    <a:latin typeface="+mn-lt"/>
                  </a:rPr>
                  <a:t>Where </a:t>
                </a:r>
                <a14:m>
                  <m:oMath xmlns:m="http://schemas.openxmlformats.org/officeDocument/2006/math">
                    <m:r>
                      <a:rPr lang="en-GB" i="1">
                        <a:latin typeface="Cambria Math" panose="02040503050406030204" pitchFamily="18" charset="0"/>
                      </a:rPr>
                      <m:t>𝑔</m:t>
                    </m:r>
                    <m:r>
                      <a:rPr lang="en-GB" i="1">
                        <a:latin typeface="Cambria Math" panose="02040503050406030204" pitchFamily="18" charset="0"/>
                      </a:rPr>
                      <m:t>(</m:t>
                    </m:r>
                    <m:acc>
                      <m:accPr>
                        <m:chr m:val="̇"/>
                        <m:ctrlPr>
                          <a:rPr lang="en-GB" i="1">
                            <a:latin typeface="Cambria Math" panose="02040503050406030204" pitchFamily="18" charset="0"/>
                          </a:rPr>
                        </m:ctrlPr>
                      </m:accPr>
                      <m:e>
                        <m:r>
                          <a:rPr lang="en-GB" i="1">
                            <a:latin typeface="Cambria Math" panose="02040503050406030204" pitchFamily="18" charset="0"/>
                          </a:rPr>
                          <m:t>𝑥</m:t>
                        </m:r>
                      </m:e>
                    </m:acc>
                    <m:r>
                      <a:rPr lang="en-GB" i="1">
                        <a:latin typeface="Cambria Math" panose="02040503050406030204" pitchFamily="18" charset="0"/>
                      </a:rPr>
                      <m:t>,</m:t>
                    </m:r>
                    <m:acc>
                      <m:accPr>
                        <m:chr m:val="̇"/>
                        <m:ctrlPr>
                          <a:rPr lang="en-GB" i="1">
                            <a:latin typeface="Cambria Math" panose="02040503050406030204" pitchFamily="18" charset="0"/>
                          </a:rPr>
                        </m:ctrlPr>
                      </m:accPr>
                      <m:e>
                        <m:r>
                          <a:rPr lang="en-GB" i="1">
                            <a:latin typeface="Cambria Math" panose="02040503050406030204" pitchFamily="18" charset="0"/>
                          </a:rPr>
                          <m:t>𝑦</m:t>
                        </m:r>
                      </m:e>
                    </m:acc>
                    <m:r>
                      <a:rPr lang="en-GB" b="0" i="1" smtClean="0">
                        <a:latin typeface="Cambria Math" panose="02040503050406030204" pitchFamily="18" charset="0"/>
                      </a:rPr>
                      <m:t>)</m:t>
                    </m:r>
                  </m:oMath>
                </a14:m>
                <a:r>
                  <a:rPr lang="en-GB" dirty="0">
                    <a:latin typeface="+mn-lt"/>
                  </a:rPr>
                  <a:t> is a penalty function to limit velocity.</a:t>
                </a:r>
              </a:p>
              <a:p>
                <a:pPr algn="ctr">
                  <a:lnSpc>
                    <a:spcPct val="114000"/>
                  </a:lnSpc>
                </a:pPr>
                <a:r>
                  <a:rPr lang="en-GB" dirty="0">
                    <a:latin typeface="+mn-lt"/>
                  </a:rPr>
                  <a:t>Subject to eq. of motion: </a:t>
                </a:r>
                <a14:m>
                  <m:oMath xmlns:m="http://schemas.openxmlformats.org/officeDocument/2006/math">
                    <m:r>
                      <m:rPr>
                        <m:sty m:val="p"/>
                      </m:rPr>
                      <a:rPr lang="en-GB" b="0" i="0" smtClean="0">
                        <a:latin typeface="Cambria Math" panose="02040503050406030204" pitchFamily="18" charset="0"/>
                      </a:rPr>
                      <m:t>x</m:t>
                    </m:r>
                    <m:d>
                      <m:dPr>
                        <m:ctrlPr>
                          <a:rPr lang="en-GB" b="0" i="1" smtClean="0">
                            <a:latin typeface="Cambria Math" panose="02040503050406030204" pitchFamily="18" charset="0"/>
                          </a:rPr>
                        </m:ctrlPr>
                      </m:dPr>
                      <m:e>
                        <m:r>
                          <a:rPr lang="en-GB" b="0" i="1" smtClean="0">
                            <a:latin typeface="Cambria Math" panose="02040503050406030204" pitchFamily="18" charset="0"/>
                          </a:rPr>
                          <m:t>𝑡</m:t>
                        </m:r>
                      </m:e>
                    </m:d>
                    <m:r>
                      <a:rPr lang="en-GB" b="0" i="1" smtClean="0">
                        <a:latin typeface="Cambria Math" panose="02040503050406030204" pitchFamily="18" charset="0"/>
                      </a:rPr>
                      <m:t>= </m:t>
                    </m:r>
                    <m:nary>
                      <m:naryPr>
                        <m:ctrlPr>
                          <a:rPr lang="en-GB" b="0" i="1" smtClean="0">
                            <a:latin typeface="Cambria Math" panose="02040503050406030204" pitchFamily="18" charset="0"/>
                          </a:rPr>
                        </m:ctrlPr>
                      </m:naryPr>
                      <m:sub>
                        <m:r>
                          <m:rPr>
                            <m:brk m:alnAt="23"/>
                          </m:rPr>
                          <a:rPr lang="en-GB" b="0" i="1" smtClean="0">
                            <a:latin typeface="Cambria Math" panose="02040503050406030204" pitchFamily="18" charset="0"/>
                          </a:rPr>
                          <m:t>0</m:t>
                        </m:r>
                      </m:sub>
                      <m:sup>
                        <m:r>
                          <a:rPr lang="en-GB" b="0" i="1" smtClean="0">
                            <a:latin typeface="Cambria Math" panose="02040503050406030204" pitchFamily="18" charset="0"/>
                          </a:rPr>
                          <m:t>𝑇</m:t>
                        </m:r>
                      </m:sup>
                      <m:e>
                        <m:r>
                          <a:rPr lang="en-GB" b="0" i="1" smtClean="0">
                            <a:latin typeface="Cambria Math" panose="02040503050406030204" pitchFamily="18" charset="0"/>
                          </a:rPr>
                          <m:t>𝑔</m:t>
                        </m:r>
                        <m:d>
                          <m:dPr>
                            <m:ctrlPr>
                              <a:rPr lang="en-GB" b="0" i="1" smtClean="0">
                                <a:latin typeface="Cambria Math" panose="02040503050406030204" pitchFamily="18" charset="0"/>
                              </a:rPr>
                            </m:ctrlPr>
                          </m:dPr>
                          <m:e>
                            <m:r>
                              <a:rPr lang="en-GB" b="0" i="1" smtClean="0">
                                <a:latin typeface="Cambria Math" panose="02040503050406030204" pitchFamily="18" charset="0"/>
                              </a:rPr>
                              <m:t>𝑡</m:t>
                            </m:r>
                            <m:r>
                              <a:rPr lang="en-GB" b="0" i="1" smtClean="0">
                                <a:latin typeface="Cambria Math" panose="02040503050406030204" pitchFamily="18" charset="0"/>
                              </a:rPr>
                              <m:t> −</m:t>
                            </m:r>
                            <m:r>
                              <a:rPr lang="en-GB" b="0" i="1" smtClean="0">
                                <a:latin typeface="Cambria Math" panose="02040503050406030204" pitchFamily="18" charset="0"/>
                                <a:ea typeface="Cambria Math" panose="02040503050406030204" pitchFamily="18" charset="0"/>
                              </a:rPr>
                              <m:t>𝜏</m:t>
                            </m:r>
                          </m:e>
                        </m:d>
                        <m:r>
                          <a:rPr lang="en-GB" b="0" i="1" smtClean="0">
                            <a:latin typeface="Cambria Math" panose="02040503050406030204" pitchFamily="18" charset="0"/>
                            <a:ea typeface="Cambria Math" panose="02040503050406030204" pitchFamily="18" charset="0"/>
                          </a:rPr>
                          <m:t>𝑢</m:t>
                        </m:r>
                        <m:d>
                          <m:dPr>
                            <m:ctrlPr>
                              <a:rPr lang="en-GB" b="0" i="1" smtClean="0">
                                <a:latin typeface="Cambria Math" panose="02040503050406030204" pitchFamily="18" charset="0"/>
                                <a:ea typeface="Cambria Math" panose="02040503050406030204" pitchFamily="18" charset="0"/>
                              </a:rPr>
                            </m:ctrlPr>
                          </m:dPr>
                          <m:e>
                            <m:r>
                              <a:rPr lang="en-GB" b="0" i="1" smtClean="0">
                                <a:latin typeface="Cambria Math" panose="02040503050406030204" pitchFamily="18" charset="0"/>
                                <a:ea typeface="Cambria Math" panose="02040503050406030204" pitchFamily="18" charset="0"/>
                              </a:rPr>
                              <m:t>𝜏</m:t>
                            </m:r>
                          </m:e>
                        </m:d>
                        <m:r>
                          <a:rPr lang="en-GB" b="0" i="1" smtClean="0">
                            <a:latin typeface="Cambria Math" panose="02040503050406030204" pitchFamily="18" charset="0"/>
                            <a:ea typeface="Cambria Math" panose="02040503050406030204" pitchFamily="18" charset="0"/>
                          </a:rPr>
                          <m:t>.</m:t>
                        </m:r>
                        <m:r>
                          <a:rPr lang="en-GB" b="0" i="1" smtClean="0">
                            <a:latin typeface="Cambria Math" panose="02040503050406030204" pitchFamily="18" charset="0"/>
                            <a:ea typeface="Cambria Math" panose="02040503050406030204" pitchFamily="18" charset="0"/>
                          </a:rPr>
                          <m:t>𝑑</m:t>
                        </m:r>
                        <m:r>
                          <a:rPr lang="en-GB" b="0" i="1" smtClean="0">
                            <a:latin typeface="Cambria Math" panose="02040503050406030204" pitchFamily="18" charset="0"/>
                            <a:ea typeface="Cambria Math" panose="02040503050406030204" pitchFamily="18" charset="0"/>
                          </a:rPr>
                          <m:t>𝜏</m:t>
                        </m:r>
                      </m:e>
                    </m:nary>
                  </m:oMath>
                </a14:m>
                <a:endParaRPr lang="en-GB" dirty="0">
                  <a:latin typeface="+mn-lt"/>
                </a:endParaRPr>
              </a:p>
            </p:txBody>
          </p:sp>
        </mc:Choice>
        <mc:Fallback xmlns="">
          <p:sp>
            <p:nvSpPr>
              <p:cNvPr id="14" name="TextBox 13">
                <a:extLst>
                  <a:ext uri="{FF2B5EF4-FFF2-40B4-BE49-F238E27FC236}">
                    <a16:creationId xmlns:a16="http://schemas.microsoft.com/office/drawing/2014/main" id="{25D4D764-3F7B-186E-C141-84F85FDC5A5D}"/>
                  </a:ext>
                </a:extLst>
              </p:cNvPr>
              <p:cNvSpPr txBox="1">
                <a:spLocks noRot="1" noChangeAspect="1" noMove="1" noResize="1" noEditPoints="1" noAdjustHandles="1" noChangeArrowheads="1" noChangeShapeType="1" noTextEdit="1"/>
              </p:cNvSpPr>
              <p:nvPr/>
            </p:nvSpPr>
            <p:spPr>
              <a:xfrm>
                <a:off x="1837765" y="1378293"/>
                <a:ext cx="8148917" cy="1441805"/>
              </a:xfrm>
              <a:prstGeom prst="rect">
                <a:avLst/>
              </a:prstGeom>
              <a:blipFill>
                <a:blip r:embed="rId6"/>
                <a:stretch>
                  <a:fillRect b="-57384"/>
                </a:stretch>
              </a:blipFill>
            </p:spPr>
            <p:txBody>
              <a:bodyPr/>
              <a:lstStyle/>
              <a:p>
                <a:r>
                  <a:rPr lang="en-GB">
                    <a:noFill/>
                  </a:rPr>
                  <a:t> </a:t>
                </a:r>
              </a:p>
            </p:txBody>
          </p:sp>
        </mc:Fallback>
      </mc:AlternateContent>
      <p:sp>
        <p:nvSpPr>
          <p:cNvPr id="15" name="TextBox 14">
            <a:extLst>
              <a:ext uri="{FF2B5EF4-FFF2-40B4-BE49-F238E27FC236}">
                <a16:creationId xmlns:a16="http://schemas.microsoft.com/office/drawing/2014/main" id="{1D87973C-B23B-6FD1-3145-BE2E6247231A}"/>
              </a:ext>
            </a:extLst>
          </p:cNvPr>
          <p:cNvSpPr txBox="1"/>
          <p:nvPr/>
        </p:nvSpPr>
        <p:spPr>
          <a:xfrm>
            <a:off x="591671" y="918113"/>
            <a:ext cx="11358282" cy="289438"/>
          </a:xfrm>
          <a:prstGeom prst="rect">
            <a:avLst/>
          </a:prstGeom>
          <a:noFill/>
        </p:spPr>
        <p:txBody>
          <a:bodyPr wrap="square" lIns="0" tIns="0" rIns="0" bIns="0" rtlCol="0">
            <a:spAutoFit/>
          </a:bodyPr>
          <a:lstStyle/>
          <a:p>
            <a:pPr>
              <a:lnSpc>
                <a:spcPct val="114000"/>
              </a:lnSpc>
            </a:pPr>
            <a:r>
              <a:rPr lang="en-GB" dirty="0">
                <a:latin typeface="+mn-lt"/>
              </a:rPr>
              <a:t>Same problem setup to HJB method</a:t>
            </a:r>
          </a:p>
        </p:txBody>
      </p:sp>
      <p:sp>
        <p:nvSpPr>
          <p:cNvPr id="17" name="ee4pContent1">
            <a:extLst>
              <a:ext uri="{FF2B5EF4-FFF2-40B4-BE49-F238E27FC236}">
                <a16:creationId xmlns:a16="http://schemas.microsoft.com/office/drawing/2014/main" id="{DF47D4E8-80A3-CF8C-CBA8-F1756E0A0DB2}"/>
              </a:ext>
            </a:extLst>
          </p:cNvPr>
          <p:cNvSpPr txBox="1">
            <a:spLocks/>
          </p:cNvSpPr>
          <p:nvPr>
            <p:custDataLst>
              <p:tags r:id="rId3"/>
            </p:custDataLst>
          </p:nvPr>
        </p:nvSpPr>
        <p:spPr>
          <a:xfrm>
            <a:off x="591671" y="3049222"/>
            <a:ext cx="10738065" cy="15676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spcAft>
                <a:spcPts val="0"/>
              </a:spcAft>
            </a:pPr>
            <a:r>
              <a:rPr lang="en-GB" sz="2000" dirty="0"/>
              <a:t>Estimate x, u (outputs + inputs) using sum of Legendre Polynomials with different weights</a:t>
            </a:r>
          </a:p>
          <a:p>
            <a:pPr lvl="1">
              <a:spcAft>
                <a:spcPts val="0"/>
              </a:spcAft>
            </a:pPr>
            <a:r>
              <a:rPr lang="en-GB" sz="2000" dirty="0"/>
              <a:t>Discretize in time -&gt; allows approximation of integrals as sums</a:t>
            </a:r>
          </a:p>
          <a:p>
            <a:pPr lvl="1">
              <a:spcAft>
                <a:spcPts val="0"/>
              </a:spcAft>
            </a:pPr>
            <a:r>
              <a:rPr lang="en-GB" sz="2000" dirty="0"/>
              <a:t>Minimise C with respect to weights of polynomials, and the final time – theoretically can quickly find optimum trajectory </a:t>
            </a:r>
          </a:p>
        </p:txBody>
      </p:sp>
    </p:spTree>
    <p:extLst>
      <p:ext uri="{BB962C8B-B14F-4D97-AF65-F5344CB8AC3E}">
        <p14:creationId xmlns:p14="http://schemas.microsoft.com/office/powerpoint/2010/main" val="4228199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323ef124-adf7-4fb9-b7f0-6fc4ff65fed5"/>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Inhaltsfolien¦Aufzählung&quot; customLayoutIndex=&quot;&quot; showBreak=&quot;1&quot; singleAgendaSlideSelected=&quot;0&quot; backupSlideTitle=&quot;Backup: %agendaName%&quot; topMargin=&quot;0&quot; leftMargin=&quot;0&quot; allowedLevels=&quot;4&quot; itemNoFormats=&quot;{1}¦{1}.{2}¦{3:alphaLC}¦{3:alphaLC}.{4:alphaLC}&quot; customLayoutNameSingle=&quot;Inhaltsfolien¦Aufzählung&quot; customLayoutNameBackup=&quot;Inhaltsfolien¦Aufzählung&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startTime=&quot;540&quot; timeFormatId=&quot;1&quot; startItemNo=&quot;1&quot; createSingleAgendaSlide=&quot;1&quot; createSeparatingSlides=&quot;1&quot; createBackupSlide=&quot;1&quot; layoutId=&quot;1_1&quot; fontSizeAuto=&quot;0&quot; createSections=&quot;1&quot; singleSlideId=&quot;6f20ca74-e44d-440d-918d-08fd579ddb8f&quot; backupSlideId=&quot;808b4e97-2fdd-4012-b2c6-749300c4479e&quot; backupSectionId=&quot;{645F9513-76EC-4D15-A41C-7C12295DD735}&quot; hideSeparatingSlides=&quot;0&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90.4268&quot; /&gt;&lt;column field=&quot;responsible&quot; label=&quot;Responsible&quot; visible=&quot;1&quot; checked=&quot;0&quot; leftSpacing=&quot;10&quot; rightDistribute=&quot;1&quot; dock=&quot;1&quot; rightSpacing=&quot;315.533&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30&quot; level=&quot;1&quot; generateAgendaSlide=&quot;1&quot; showAgendaItem=&quot;1&quot; isBreak=&quot;0&quot; itemNo=&quot;2&quot; subItemNo=&quot;0&quot; topic=&quot;Background&quot; agendaSlideId=&quot;5da308ff-075e-4a5b-9536-b83e6625af67&quot; sectionId=&quot;{8F532408-9D62-4842-81CC-FF171D95E6DC}&quot; id=&quot;171d9d43-20e8-4f59-8f9c-dcdb6ffd8861&quot; parentId=&quot;&quot; /&gt;&lt;item duration=&quot;30&quot; level=&quot;1&quot; generateAgendaSlide=&quot;0&quot; showAgendaItem=&quot;1&quot; isBreak=&quot;0&quot; itemNo=&quot;3&quot; subItemNo=&quot;0&quot; topic=&quot;Requirements and Existing Model&quot; agendaSlideId=&quot;&quot; sectionId=&quot;&quot; id=&quot;173c58b2-7cc8-4d64-a27d-8f811fb41119&quot; parentId=&quot;&quot; /&gt;&lt;item duration=&quot;30&quot; id=&quot;ed34d02f-79e6-4009-9b4c-6acf5e04dc61&quot; parentId=&quot;&quot; level=&quot;1&quot; generateAgendaSlide=&quot;1&quot; showAgendaItem=&quot;1&quot; isBreak=&quot;0&quot; topic=&quot;Hamilton-Jacobi-Bellman Method&quot; agendaSlideId=&quot;a0c75078-e358-4b3a-b06b-31f2470ae4c9&quot; sectionId=&quot;{FC70C19C-4EAC-460B-A178-CE494A21F2DA}&quot; /&gt;&lt;item duration=&quot;30&quot; id=&quot;bcd0aa14-e783-42af-b4f2-a9af474c13a6&quot; parentId=&quot;&quot; level=&quot;1&quot; generateAgendaSlide=&quot;0&quot; showAgendaItem=&quot;1&quot; isBreak=&quot;0&quot; topic=&quot;Collocation Method&quot; agendaSlideId=&quot;&quot; sectionId=&quot;&quot; /&gt;&lt;item duration=&quot;30&quot; id=&quot;181e37f3-b508-4975-897b-4306b9f386a2&quot; parentId=&quot;&quot; level=&quot;1&quot; generateAgendaSlide=&quot;1&quot; showAgendaItem=&quot;1&quot; isBreak=&quot;0&quot; topic=&quot;Reinforcement Learning&quot; agendaSlideId=&quot;6f366894-1c12-4f0f-8260-8161b5425740&quot; sectionId=&quot;{82B1D2E0-7652-4C53-8885-7CC54C41F147}&quot; /&gt;&lt;item duration=&quot;30&quot; id=&quot;6feb5458-66fc-4816-8c11-0e6477f353e2&quot; parentId=&quot;&quot; level=&quot;1&quot; generateAgendaSlide=&quot;0&quot; showAgendaItem=&quot;1&quot; isBreak=&quot;0&quot; topic=&quot;Next Steps&quot; agendaSlideId=&quot;&quot; sectionId=&quot;&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SLIDEID" val="5da308ff-075e-4a5b-9536-b83e6625af67"/>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Next Steps"/>
  <p:tag name="EE4P_AGENDAWIZARD_PROPERTIES" val="70.00512/324.8987/265.5684/31.50472"/>
</p:tagLst>
</file>

<file path=ppt/tags/tag11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11.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1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1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6"/>
  <p:tag name="EE4P_AGENDAWIZARD_PROPERTIES" val="33.50039/324.8987/31.50472/31.50472"/>
</p:tagLst>
</file>

<file path=ppt/tags/tag12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7.xml><?xml version="1.0" encoding="utf-8"?>
<p:tagLst xmlns:a="http://schemas.openxmlformats.org/drawingml/2006/main" xmlns:r="http://schemas.openxmlformats.org/officeDocument/2006/relationships" xmlns:p="http://schemas.openxmlformats.org/presentationml/2006/main">
  <p:tag name="EE4P_SLIDEID" val="808b4e97-2fdd-4012-b2c6-749300c4479e"/>
</p:tagLst>
</file>

<file path=ppt/tags/tag1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6f366894-1c12-4f0f-8260-8161b5425740_Topic"/>
  <p:tag name="EE4P_AGENDAWIZARD_CONTENT" val="/Reinforcement Learning"/>
  <p:tag name="EE4P_AGENDAWIZARD_PROPERTIES" val="70.00512/288.394/265.5684/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6f366894-1c12-4f0f-8260-8161b5425740_ItemNo"/>
  <p:tag name="EE4P_AGENDAWIZARD_CONTENT" val="/5"/>
  <p:tag name="EE4P_AGENDAWIZARD_PROPERTIES" val="33.50039/288.394/31.50472/31.50472"/>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Collocation Method"/>
  <p:tag name="EE4P_AGENDAWIZARD_PROPERTIES" val="70.00512/251.8892/265.5684/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
  <p:tag name="EE4P_AGENDAWIZARD_PROPERTIES" val="33.50039/251.8892/31.50472/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a0c75078-e358-4b3a-b06b-31f2470ae4c9_Topic"/>
  <p:tag name="EE4P_AGENDAWIZARD_CONTENT" val="/Hamilton-Jacobi-Bellman Method"/>
  <p:tag name="EE4P_AGENDAWIZARD_PROPERTIES" val="70.00512/215.3845/265.5684/31.50472"/>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a0c75078-e358-4b3a-b06b-31f2470ae4c9_ItemNo"/>
  <p:tag name="EE4P_AGENDAWIZARD_CONTENT" val="/3"/>
  <p:tag name="EE4P_AGENDAWIZARD_PROPERTIES" val="33.50039/215.3845/31.50472/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Requirements and Existing Model"/>
  <p:tag name="EE4P_AGENDAWIZARD_PROPERTIES" val="70.00512/178.8798/265.5684/31.5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2"/>
  <p:tag name="EE4P_AGENDAWIZARD_PROPERTIES" val="33.50039/178.8798/31.50472/31.50472"/>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5da308ff-075e-4a5b-9536-b83e6625af67_Element"/>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5da308ff-075e-4a5b-9536-b83e6625af67_Topic"/>
  <p:tag name="EE4P_AGENDAWIZARD_CONTENT" val="/Background"/>
  <p:tag name="EE4P_AGENDAWIZARD_PROPERTIES" val="70.00512/142.375/265.5684/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5da308ff-075e-4a5b-9536-b83e6625af67_ItemNo"/>
  <p:tag name="EE4P_AGENDAWIZARD_CONTENT" val="/1"/>
  <p:tag name="EE4P_AGENDAWIZARD_PROPERTIES" val="33.50039/142.375/31.50472/31.50472"/>
</p:tagLst>
</file>

<file path=ppt/tags/tag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xml><?xml version="1.0" encoding="utf-8"?>
<p:tagLst xmlns:a="http://schemas.openxmlformats.org/drawingml/2006/main" xmlns:r="http://schemas.openxmlformats.org/officeDocument/2006/relationships" xmlns:p="http://schemas.openxmlformats.org/presentationml/2006/main">
  <p:tag name="EE4P_TEMPLATESTYLE" val="3"/>
</p:tagLst>
</file>

<file path=ppt/tags/tag27.xml><?xml version="1.0" encoding="utf-8"?>
<p:tagLst xmlns:a="http://schemas.openxmlformats.org/drawingml/2006/main" xmlns:r="http://schemas.openxmlformats.org/officeDocument/2006/relationships" xmlns:p="http://schemas.openxmlformats.org/presentationml/2006/main">
  <p:tag name="EE4P_TEMPLATESTYLE" val="15"/>
</p:tagLst>
</file>

<file path=ppt/tags/tag28.xml><?xml version="1.0" encoding="utf-8"?>
<p:tagLst xmlns:a="http://schemas.openxmlformats.org/drawingml/2006/main" xmlns:r="http://schemas.openxmlformats.org/officeDocument/2006/relationships" xmlns:p="http://schemas.openxmlformats.org/presentationml/2006/main">
  <p:tag name="EE4P_TEMPLATESTYLE" val="7"/>
</p:tagLst>
</file>

<file path=ppt/tags/tag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QCW" val="1"/>
</p:tagLst>
</file>

<file path=ppt/tags/tag31.xml><?xml version="1.0" encoding="utf-8"?>
<p:tagLst xmlns:a="http://schemas.openxmlformats.org/drawingml/2006/main" xmlns:r="http://schemas.openxmlformats.org/officeDocument/2006/relationships" xmlns:p="http://schemas.openxmlformats.org/presentationml/2006/main">
  <p:tag name="EE4P_QCW" val="2"/>
</p:tagLst>
</file>

<file path=ppt/tags/tag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4.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_XML" val="&lt;smartelement id=&quot;ProcessArrow&quot; custom=&quot;1&quot;&gt;&lt;value angle=&quot;4&quot; /&gt;&lt;/smartelement&gt;"/>
</p:tagLst>
</file>

<file path=ppt/tags/tag35.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_XML" val="&lt;smartelement id=&quot;ProcessArrow&quot; custom=&quot;1&quot;&gt;&lt;value angle=&quot;4&quot; /&gt;&lt;/smartelement&gt;"/>
</p:tagLst>
</file>

<file path=ppt/tags/tag36.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STYLE_NAME" val="Box"/>
  <p:tag name="EE4P_SMART_ELEMENT_XML" val="&lt;smartelement id=&quot;ProcessArrow&quot; custom=&quot;1&quot;&gt;&lt;value angle=&quot;4&quot; /&gt;&lt;/smartelement&gt;"/>
</p:tagLst>
</file>

<file path=ppt/tags/tag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39.xml><?xml version="1.0" encoding="utf-8"?>
<p:tagLst xmlns:a="http://schemas.openxmlformats.org/drawingml/2006/main" xmlns:r="http://schemas.openxmlformats.org/officeDocument/2006/relationships" xmlns:p="http://schemas.openxmlformats.org/presentationml/2006/main">
  <p:tag name="EE4P_TEMPLATESTYLE" val="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TEMPLATESTYLE" val="3"/>
</p:tagLst>
</file>

<file path=ppt/tags/tag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4.xml><?xml version="1.0" encoding="utf-8"?>
<p:tagLst xmlns:a="http://schemas.openxmlformats.org/drawingml/2006/main" xmlns:r="http://schemas.openxmlformats.org/officeDocument/2006/relationships" xmlns:p="http://schemas.openxmlformats.org/presentationml/2006/main">
  <p:tag name="EE4P_TEMPLATESTYLE" val="5"/>
</p:tagLst>
</file>

<file path=ppt/tags/tag440.xml><?xml version="1.0" encoding="utf-8"?>
<p:tagLst xmlns:a="http://schemas.openxmlformats.org/drawingml/2006/main" xmlns:r="http://schemas.openxmlformats.org/officeDocument/2006/relationships" xmlns:p="http://schemas.openxmlformats.org/presentationml/2006/main">
  <p:tag name="EE4P_TEMPLATESTYLE" val="5"/>
</p:tagLst>
</file>

<file path=ppt/tags/tag45.xml><?xml version="1.0" encoding="utf-8"?>
<p:tagLst xmlns:a="http://schemas.openxmlformats.org/drawingml/2006/main" xmlns:r="http://schemas.openxmlformats.org/officeDocument/2006/relationships" xmlns:p="http://schemas.openxmlformats.org/presentationml/2006/main">
  <p:tag name="EE4P_TEMPLATESTYLE" val="5"/>
</p:tagLst>
</file>

<file path=ppt/tags/tag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48.xml><?xml version="1.0" encoding="utf-8"?>
<p:tagLst xmlns:a="http://schemas.openxmlformats.org/drawingml/2006/main" xmlns:r="http://schemas.openxmlformats.org/officeDocument/2006/relationships" xmlns:p="http://schemas.openxmlformats.org/presentationml/2006/main">
  <p:tag name="EE4P_TEMPLATESTYLE" val="3"/>
</p:tagLst>
</file>

<file path=ppt/tags/tag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2.xml><?xml version="1.0" encoding="utf-8"?>
<p:tagLst xmlns:a="http://schemas.openxmlformats.org/drawingml/2006/main" xmlns:r="http://schemas.openxmlformats.org/officeDocument/2006/relationships" xmlns:p="http://schemas.openxmlformats.org/presentationml/2006/main">
  <p:tag name="EE4P_TEMPLATESTYLE" val="17"/>
</p:tagLst>
</file>

<file path=ppt/tags/tag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xml><?xml version="1.0" encoding="utf-8"?>
<p:tagLst xmlns:a="http://schemas.openxmlformats.org/drawingml/2006/main" xmlns:r="http://schemas.openxmlformats.org/officeDocument/2006/relationships" xmlns:p="http://schemas.openxmlformats.org/presentationml/2006/main">
  <p:tag name="EE4P_SLIDEID" val="a0c75078-e358-4b3a-b06b-31f2470ae4c9"/>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Next Steps"/>
  <p:tag name="EE4P_AGENDAWIZARD_PROPERTIES" val="70.00512/324.8987/265.5684/31.50472"/>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6"/>
  <p:tag name="EE4P_AGENDAWIZARD_PROPERTIES" val="33.50039/324.8987/31.50472/31.50472"/>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6f366894-1c12-4f0f-8260-8161b5425740_Topic"/>
  <p:tag name="EE4P_AGENDAWIZARD_CONTENT" val="/Reinforcement Learning"/>
  <p:tag name="EE4P_AGENDAWIZARD_PROPERTIES" val="70.00512/288.394/265.5684/31.50472"/>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6f366894-1c12-4f0f-8260-8161b5425740_ItemNo"/>
  <p:tag name="EE4P_AGENDAWIZARD_CONTENT" val="/5"/>
  <p:tag name="EE4P_AGENDAWIZARD_PROPERTIES" val="33.50039/288.394/31.50472/31.50472"/>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Collocation Method"/>
  <p:tag name="EE4P_AGENDAWIZARD_PROPERTIES" val="70.00512/251.8892/265.5684/31.50472"/>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
  <p:tag name="EE4P_AGENDAWIZARD_PROPERTIES" val="33.50039/251.8892/31.50472/31.50472"/>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a0c75078-e358-4b3a-b06b-31f2470ae4c9_Element"/>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a0c75078-e358-4b3a-b06b-31f2470ae4c9_Topic"/>
  <p:tag name="EE4P_AGENDAWIZARD_CONTENT" val="/Hamilton-Jacobi-Bellman Method"/>
  <p:tag name="EE4P_AGENDAWIZARD_PROPERTIES" val="70.00512/215.3845/265.5684/31.50472"/>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a0c75078-e358-4b3a-b06b-31f2470ae4c9_ItemNo"/>
  <p:tag name="EE4P_AGENDAWIZARD_CONTENT" val="/3"/>
  <p:tag name="EE4P_AGENDAWIZARD_PROPERTIES" val="33.50039/215.3845/31.50472/31.50472"/>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Requirements and Existing Model"/>
  <p:tag name="EE4P_AGENDAWIZARD_PROPERTIES" val="70.00512/178.8798/265.5684/31.5047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2"/>
  <p:tag name="EE4P_AGENDAWIZARD_PROPERTIES" val="33.50039/178.8798/31.50472/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5da308ff-075e-4a5b-9536-b83e6625af67_Topic"/>
  <p:tag name="EE4P_AGENDAWIZARD_CONTENT" val="/Background"/>
  <p:tag name="EE4P_AGENDAWIZARD_PROPERTIES" val="70.00512/142.375/265.5684/31.50472"/>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5da308ff-075e-4a5b-9536-b83e6625af67_ItemNo"/>
  <p:tag name="EE4P_AGENDAWIZARD_CONTENT" val="/1"/>
  <p:tag name="EE4P_AGENDAWIZARD_PROPERTIES" val="33.50039/142.375/31.50472/31.50472"/>
</p:tagLst>
</file>

<file path=ppt/tags/tag73.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7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xml><?xml version="1.0" encoding="utf-8"?>
<p:tagLst xmlns:a="http://schemas.openxmlformats.org/drawingml/2006/main" xmlns:r="http://schemas.openxmlformats.org/officeDocument/2006/relationships" xmlns:p="http://schemas.openxmlformats.org/presentationml/2006/main">
  <p:tag name="EE4P_TEMPLATESTYLE" val="18"/>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xml><?xml version="1.0" encoding="utf-8"?>
<p:tagLst xmlns:a="http://schemas.openxmlformats.org/drawingml/2006/main" xmlns:r="http://schemas.openxmlformats.org/officeDocument/2006/relationships" xmlns:p="http://schemas.openxmlformats.org/presentationml/2006/main">
  <p:tag name="EE4P_SLIDEID" val="6f366894-1c12-4f0f-8260-8161b5425740"/>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Next Steps"/>
  <p:tag name="EE4P_AGENDAWIZARD_PROPERTIES" val="70.00512/324.8987/265.5684/31.5047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6"/>
  <p:tag name="EE4P_AGENDAWIZARD_PROPERTIES" val="33.50039/324.8987/31.50472/31.50472"/>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6f366894-1c12-4f0f-8260-8161b5425740_Element"/>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6f366894-1c12-4f0f-8260-8161b5425740_Topic"/>
  <p:tag name="EE4P_AGENDAWIZARD_CONTENT" val="/Reinforcement Learning"/>
  <p:tag name="EE4P_AGENDAWIZARD_PROPERTIES" val="70.00512/288.394/265.5684/31.50472"/>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6f366894-1c12-4f0f-8260-8161b5425740_ItemNo"/>
  <p:tag name="EE4P_AGENDAWIZARD_CONTENT" val="/5"/>
  <p:tag name="EE4P_AGENDAWIZARD_PROPERTIES" val="33.50039/288.394/31.50472/31.50472"/>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Collocation Method"/>
  <p:tag name="EE4P_AGENDAWIZARD_PROPERTIES" val="70.00512/251.8892/265.5684/31.50472"/>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
  <p:tag name="EE4P_AGENDAWIZARD_PROPERTIES" val="33.50039/251.8892/31.50472/31.5047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a0c75078-e358-4b3a-b06b-31f2470ae4c9_Topic"/>
  <p:tag name="EE4P_AGENDAWIZARD_CONTENT" val="/Hamilton-Jacobi-Bellman Method"/>
  <p:tag name="EE4P_AGENDAWIZARD_PROPERTIES" val="70.00512/215.3845/265.5684/31.50472"/>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a0c75078-e358-4b3a-b06b-31f2470ae4c9_ItemNo"/>
  <p:tag name="EE4P_AGENDAWIZARD_CONTENT" val="/3"/>
  <p:tag name="EE4P_AGENDAWIZARD_PROPERTIES" val="33.50039/215.3845/31.50472/31.50472"/>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Requirements and Existing Model"/>
  <p:tag name="EE4P_AGENDAWIZARD_PROPERTIES" val="70.00512/178.8798/265.5684/31.50472"/>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2"/>
  <p:tag name="EE4P_AGENDAWIZARD_PROPERTIES" val="33.50039/178.8798/31.50472/31.50472"/>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5da308ff-075e-4a5b-9536-b83e6625af67_Topic"/>
  <p:tag name="EE4P_AGENDAWIZARD_CONTENT" val="/Background"/>
  <p:tag name="EE4P_AGENDAWIZARD_PROPERTIES" val="70.00512/142.375/265.5684/31.50472"/>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5da308ff-075e-4a5b-9536-b83e6625af67_ItemNo"/>
  <p:tag name="EE4P_AGENDAWIZARD_CONTENT" val="/1"/>
  <p:tag name="EE4P_AGENDAWIZARD_PROPERTIES" val="33.50039/142.375/31.50472/31.50472"/>
</p:tagLst>
</file>

<file path=ppt/tags/tag9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Titelfolie">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iwb TUM Vorlage EN_neu.potx" id="{12E68A9D-88D9-4867-A58E-4D6BCE5AD9C2}" vid="{200FC960-9390-4960-B4C3-CA36F29463E6}"/>
    </a:ext>
  </a:extLst>
</a:theme>
</file>

<file path=ppt/theme/theme2.xml><?xml version="1.0" encoding="utf-8"?>
<a:theme xmlns:a="http://schemas.openxmlformats.org/drawingml/2006/main" name="Inhaltsfolien">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solidFill>
            <a:schemeClr val="bg1">
              <a:lumMod val="65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13000"/>
          </a:lnSpc>
          <a:defRPr sz="1400" dirty="0" err="1" smtClean="0"/>
        </a:defPPr>
      </a:lstStyle>
      <a:style>
        <a:lnRef idx="1">
          <a:schemeClr val="accent1"/>
        </a:lnRef>
        <a:fillRef idx="0">
          <a:schemeClr val="accent1"/>
        </a:fillRef>
        <a:effectRef idx="0">
          <a:schemeClr val="accent1"/>
        </a:effectRef>
        <a:fontRef idx="minor">
          <a:schemeClr val="tx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defRPr sz="1400" dirty="0" err="1" smtClean="0">
            <a:latin typeface="+mn-lt"/>
          </a:defRPr>
        </a:defPPr>
      </a:lstStyle>
    </a:txDef>
  </a:objectDefaults>
  <a:extraClrSchemeLst/>
  <a:extLst>
    <a:ext uri="{05A4C25C-085E-4340-85A3-A5531E510DB2}">
      <thm15:themeFamily xmlns:thm15="http://schemas.microsoft.com/office/thememl/2012/main" name="iwb TUM Vorlage EN_neu.potx" id="{12E68A9D-88D9-4867-A58E-4D6BCE5AD9C2}" vid="{327A83C6-2D82-4E56-9CC0-EF83F071D995}"/>
    </a:ext>
  </a:ext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wb TUM Vorlage EN_neu</Template>
  <TotalTime>4551</TotalTime>
  <Words>3610</Words>
  <Application>Microsoft Office PowerPoint</Application>
  <PresentationFormat>Widescreen</PresentationFormat>
  <Paragraphs>350</Paragraphs>
  <Slides>21</Slides>
  <Notes>1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Cambria Math</vt:lpstr>
      <vt:lpstr>Courier New</vt:lpstr>
      <vt:lpstr>Symbol</vt:lpstr>
      <vt:lpstr>Wingdings</vt:lpstr>
      <vt:lpstr>Titelfolie</vt:lpstr>
      <vt:lpstr>Inhaltsfolien</vt:lpstr>
      <vt:lpstr>think-cell Folie</vt:lpstr>
      <vt:lpstr>From Path to Trajectory: Trajectory Planning for Galvanometer Scanners.</vt:lpstr>
      <vt:lpstr>Agenda</vt:lpstr>
      <vt:lpstr>Trajectory Planning: Background</vt:lpstr>
      <vt:lpstr>Trajectory Planning: Background</vt:lpstr>
      <vt:lpstr>Requirements</vt:lpstr>
      <vt:lpstr>The Dynamics Model</vt:lpstr>
      <vt:lpstr>Agenda</vt:lpstr>
      <vt:lpstr>Hamilton-Jacobi-Bellman-Equation [1]</vt:lpstr>
      <vt:lpstr>Collocation: Method [3]</vt:lpstr>
      <vt:lpstr>Collocation: Results</vt:lpstr>
      <vt:lpstr>Agenda</vt:lpstr>
      <vt:lpstr>Reinforcement Learning (RL)</vt:lpstr>
      <vt:lpstr>Reward Function – Distance based</vt:lpstr>
      <vt:lpstr>Reward Function – Path Following</vt:lpstr>
      <vt:lpstr>Results: Straight Line Tests</vt:lpstr>
      <vt:lpstr>Future Steps</vt:lpstr>
      <vt:lpstr>PowerPoint Presentation</vt:lpstr>
      <vt:lpstr>Methods</vt:lpstr>
      <vt:lpstr>Appendix: Parameters for successful tests</vt:lpstr>
      <vt:lpstr>Appendix: The HJB</vt:lpstr>
      <vt:lpstr>Backup: New Agenda</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takala, Dak</dc:creator>
  <cp:lastModifiedBy>Natakala, Dak</cp:lastModifiedBy>
  <cp:revision>4</cp:revision>
  <cp:lastPrinted>2015-07-30T14:04:45Z</cp:lastPrinted>
  <dcterms:created xsi:type="dcterms:W3CDTF">2023-08-17T15:46:59Z</dcterms:created>
  <dcterms:modified xsi:type="dcterms:W3CDTF">2023-08-25T10:45:12Z</dcterms:modified>
</cp:coreProperties>
</file>